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 id="2147483990" r:id="rId9"/>
  </p:sldMasterIdLst>
  <p:notesMasterIdLst>
    <p:notesMasterId r:id="rId23"/>
  </p:notesMasterIdLst>
  <p:handoutMasterIdLst>
    <p:handoutMasterId r:id="rId24"/>
  </p:handoutMasterIdLst>
  <p:sldIdLst>
    <p:sldId id="377" r:id="rId10"/>
    <p:sldId id="378" r:id="rId11"/>
    <p:sldId id="379" r:id="rId12"/>
    <p:sldId id="380" r:id="rId13"/>
    <p:sldId id="381" r:id="rId14"/>
    <p:sldId id="389" r:id="rId15"/>
    <p:sldId id="390" r:id="rId16"/>
    <p:sldId id="391" r:id="rId17"/>
    <p:sldId id="392" r:id="rId18"/>
    <p:sldId id="395" r:id="rId19"/>
    <p:sldId id="393" r:id="rId20"/>
    <p:sldId id="382" r:id="rId21"/>
    <p:sldId id="396" r:id="rId22"/>
  </p:sldIdLst>
  <p:sldSz cx="9144000" cy="6858000" type="screen4x3"/>
  <p:notesSz cx="6797675" cy="9874250"/>
  <p:custDataLst>
    <p:tags r:id="rId2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72" userDrawn="1">
          <p15:clr>
            <a:srgbClr val="A4A3A4"/>
          </p15:clr>
        </p15:guide>
        <p15:guide id="2" pos="5499" userDrawn="1">
          <p15:clr>
            <a:srgbClr val="A4A3A4"/>
          </p15:clr>
        </p15:guide>
        <p15:guide id="3" orient="horz" pos="954">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15" autoAdjust="0"/>
  </p:normalViewPr>
  <p:slideViewPr>
    <p:cSldViewPr snapToGrid="0">
      <p:cViewPr varScale="1">
        <p:scale>
          <a:sx n="72" d="100"/>
          <a:sy n="72" d="100"/>
        </p:scale>
        <p:origin x="1350" y="84"/>
      </p:cViewPr>
      <p:guideLst>
        <p:guide orient="horz" pos="1272"/>
        <p:guide pos="5499"/>
        <p:guide orient="horz" pos="95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17/2017</a:t>
            </a:fld>
            <a:endParaRPr lang="en-US"/>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5.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oleObject" Target="../embeddings/oleObject17.bin"/><Relationship Id="rId5" Type="http://schemas.openxmlformats.org/officeDocument/2006/relationships/tags" Target="../tags/tag70.xml"/><Relationship Id="rId10" Type="http://schemas.openxmlformats.org/officeDocument/2006/relationships/image" Target="../media/image4.jpeg"/><Relationship Id="rId4" Type="http://schemas.openxmlformats.org/officeDocument/2006/relationships/tags" Target="../tags/tag69.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oleObject" Target="../embeddings/oleObject20.bin"/><Relationship Id="rId2" Type="http://schemas.openxmlformats.org/officeDocument/2006/relationships/tags" Target="../tags/tag78.xml"/><Relationship Id="rId1" Type="http://schemas.openxmlformats.org/officeDocument/2006/relationships/vmlDrawing" Target="../drawings/vmlDrawing20.vml"/><Relationship Id="rId6" Type="http://schemas.openxmlformats.org/officeDocument/2006/relationships/slideMaster" Target="../slideMasters/slideMaster4.xml"/><Relationship Id="rId5" Type="http://schemas.openxmlformats.org/officeDocument/2006/relationships/tags" Target="../tags/tag81.xml"/><Relationship Id="rId4" Type="http://schemas.openxmlformats.org/officeDocument/2006/relationships/tags" Target="../tags/tag80.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1.bin"/><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85.xml"/><Relationship Id="rId4" Type="http://schemas.openxmlformats.org/officeDocument/2006/relationships/tags" Target="../tags/tag8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image" Target="../media/image1.emf"/><Relationship Id="rId4" Type="http://schemas.openxmlformats.org/officeDocument/2006/relationships/tags" Target="../tags/tag88.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8"/>
            <a:ext cx="9144000" cy="5885035"/>
          </a:xfrm>
          <a:prstGeom prst="rect">
            <a:avLst/>
          </a:prstGeom>
          <a:noFill/>
          <a:ln>
            <a:noFill/>
          </a:ln>
        </p:spPr>
      </p:pic>
      <p:sp>
        <p:nvSpPr>
          <p:cNvPr id="18" name="Rectangle 17"/>
          <p:cNvSpPr/>
          <p:nvPr userDrawn="1">
            <p:custDataLst>
              <p:tags r:id="rId2"/>
            </p:custDataLst>
          </p:nvPr>
        </p:nvSpPr>
        <p:spPr>
          <a:xfrm>
            <a:off x="0" y="6400878"/>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a:p>
        </p:txBody>
      </p:sp>
      <p:sp>
        <p:nvSpPr>
          <p:cNvPr id="17" name="Rectangle 7"/>
          <p:cNvSpPr/>
          <p:nvPr userDrawn="1">
            <p:custDataLst>
              <p:tags r:id="rId3"/>
            </p:custDataLst>
          </p:nvPr>
        </p:nvSpPr>
        <p:spPr bwMode="auto">
          <a:xfrm>
            <a:off x="1" y="3"/>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18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5"/>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3" y="2959929"/>
            <a:ext cx="5035137" cy="1098157"/>
          </a:xfrm>
        </p:spPr>
        <p:txBody>
          <a:bodyPr lIns="720000" tIns="33059" rIns="33059" bIns="33059" anchor="t"/>
          <a:lstStyle>
            <a:lvl1pPr marL="0" indent="0" algn="l">
              <a:defRPr sz="4933"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7" y="4949633"/>
            <a:ext cx="4652387" cy="874227"/>
          </a:xfrm>
        </p:spPr>
        <p:txBody>
          <a:bodyPr lIns="720000" tIns="33059" rIns="33059" bIns="33059"/>
          <a:lstStyle>
            <a:lvl1pPr marL="0" indent="0" algn="l">
              <a:buNone/>
              <a:defRPr sz="2933" b="0">
                <a:solidFill>
                  <a:schemeClr val="tx1"/>
                </a:solidFill>
              </a:defRPr>
            </a:lvl1pPr>
            <a:lvl2pPr marL="609546" indent="0" algn="ctr">
              <a:buNone/>
              <a:defRPr>
                <a:solidFill>
                  <a:schemeClr val="tx1">
                    <a:tint val="75000"/>
                  </a:schemeClr>
                </a:solidFill>
              </a:defRPr>
            </a:lvl2pPr>
            <a:lvl3pPr marL="1219092" indent="0" algn="ctr">
              <a:buNone/>
              <a:defRPr>
                <a:solidFill>
                  <a:schemeClr val="tx1">
                    <a:tint val="75000"/>
                  </a:schemeClr>
                </a:solidFill>
              </a:defRPr>
            </a:lvl3pPr>
            <a:lvl4pPr marL="1828638" indent="0" algn="ctr">
              <a:buNone/>
              <a:defRPr>
                <a:solidFill>
                  <a:schemeClr val="tx1">
                    <a:tint val="75000"/>
                  </a:schemeClr>
                </a:solidFill>
              </a:defRPr>
            </a:lvl4pPr>
            <a:lvl5pPr marL="2438184" indent="0" algn="ctr">
              <a:buNone/>
              <a:defRPr>
                <a:solidFill>
                  <a:schemeClr val="tx1">
                    <a:tint val="75000"/>
                  </a:schemeClr>
                </a:solidFill>
              </a:defRPr>
            </a:lvl5pPr>
            <a:lvl6pPr marL="3047730" indent="0" algn="ctr">
              <a:buNone/>
              <a:defRPr>
                <a:solidFill>
                  <a:schemeClr val="tx1">
                    <a:tint val="75000"/>
                  </a:schemeClr>
                </a:solidFill>
              </a:defRPr>
            </a:lvl6pPr>
            <a:lvl7pPr marL="3657277" indent="0" algn="ctr">
              <a:buNone/>
              <a:defRPr>
                <a:solidFill>
                  <a:schemeClr val="tx1">
                    <a:tint val="75000"/>
                  </a:schemeClr>
                </a:solidFill>
              </a:defRPr>
            </a:lvl7pPr>
            <a:lvl8pPr marL="4266824" indent="0" algn="ctr">
              <a:buNone/>
              <a:defRPr>
                <a:solidFill>
                  <a:schemeClr val="tx1">
                    <a:tint val="75000"/>
                  </a:schemeClr>
                </a:solidFill>
              </a:defRPr>
            </a:lvl8pPr>
            <a:lvl9pPr marL="4876370" indent="0" algn="ctr">
              <a:buNone/>
              <a:defRPr>
                <a:solidFill>
                  <a:schemeClr val="tx1">
                    <a:tint val="75000"/>
                  </a:schemeClr>
                </a:solidFill>
              </a:defRPr>
            </a:lvl9pPr>
          </a:lstStyle>
          <a:p>
            <a:r>
              <a:rPr lang="fr-FR" dirty="0"/>
              <a:t>Date: </a:t>
            </a:r>
          </a:p>
        </p:txBody>
      </p:sp>
    </p:spTree>
  </p:cSld>
  <p:clrMapOvr>
    <a:masterClrMapping/>
  </p:clrMapOvr>
  <p:hf sldNum="0" hdr="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3229665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3"/>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47612"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5"/>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2"/>
            <a:ext cx="9144000" cy="1362097"/>
          </a:xfrm>
          <a:prstGeom prst="rect">
            <a:avLst/>
          </a:prstGeom>
        </p:spPr>
        <p:txBody>
          <a:bodyPr vert="horz" lIns="826470" tIns="33059" rIns="66118" bIns="33059" rtlCol="0" anchor="t" anchorCtr="0">
            <a:noAutofit/>
          </a:bodyPr>
          <a:lstStyle>
            <a:lvl1pPr algn="l" defTabSz="1219092" rtl="0" eaLnBrk="1" latinLnBrk="0" hangingPunct="1">
              <a:spcBef>
                <a:spcPct val="0"/>
              </a:spcBef>
              <a:buNone/>
              <a:defRPr lang="en-US" sz="5333"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4780"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203526"/>
            <a:ext cx="4045000" cy="458351"/>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 Rightshore</a:t>
            </a:r>
            <a:r>
              <a:rPr lang="en-US" sz="800" b="0" baseline="30000" dirty="0">
                <a:solidFill>
                  <a:schemeClr val="bg1"/>
                </a:solidFill>
                <a:latin typeface="Arial" pitchFamily="34" charset="0"/>
                <a:cs typeface="Arial" pitchFamily="34" charset="0"/>
              </a:rPr>
              <a:t>®  </a:t>
            </a:r>
            <a:r>
              <a:rPr lang="en-US" sz="800" b="0" baseline="0" dirty="0">
                <a:solidFill>
                  <a:schemeClr val="bg1"/>
                </a:solidFill>
                <a:latin typeface="Arial" pitchFamily="34" charset="0"/>
                <a:cs typeface="Arial" pitchFamily="34" charset="0"/>
              </a:rPr>
              <a:t>is a trademark belonging to Capgemini.</a:t>
            </a:r>
            <a:endParaRPr lang="en-US" sz="800" b="0" kern="0" noProof="1">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30"/>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80000" tIns="67935" rIns="288000" bIns="192000" rtlCol="0" anchor="b"/>
          <a:lstStyle/>
          <a:p>
            <a:pPr marL="0" marR="0" indent="0" algn="just" defTabSz="1390587"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a:cs typeface="Arial"/>
              </a:rPr>
              <a:t>About Capgemini</a:t>
            </a:r>
            <a:endParaRPr lang="en-US" sz="1333" dirty="0">
              <a:solidFill>
                <a:schemeClr val="bg1"/>
              </a:solidFill>
              <a:latin typeface="Arial" pitchFamily="34" charset="0"/>
              <a:cs typeface="Arial" pitchFamily="34" charset="0"/>
            </a:endParaRPr>
          </a:p>
          <a:p>
            <a:pPr marL="0" indent="0" algn="just"/>
            <a:endParaRPr lang="en-US" sz="1333" dirty="0">
              <a:solidFill>
                <a:schemeClr val="bg1"/>
              </a:solidFill>
              <a:latin typeface="Arial" pitchFamily="34" charset="0"/>
              <a:cs typeface="Arial" pitchFamily="34" charset="0"/>
            </a:endParaRPr>
          </a:p>
          <a:p>
            <a:pPr marL="0" indent="0" algn="l"/>
            <a:r>
              <a:rPr lang="en-IN" sz="1333"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800"/>
              </a:spcBef>
            </a:pPr>
            <a:r>
              <a:rPr lang="en-IN" sz="1333"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800"/>
              </a:spcBef>
            </a:pPr>
            <a:r>
              <a:rPr lang="en-IN" sz="1333"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333" baseline="30000" dirty="0">
                <a:solidFill>
                  <a:schemeClr val="bg1"/>
                </a:solidFill>
                <a:latin typeface="Arial" pitchFamily="34" charset="0"/>
                <a:cs typeface="Arial" pitchFamily="34" charset="0"/>
              </a:rPr>
              <a:t>TM</a:t>
            </a:r>
            <a:r>
              <a:rPr lang="en-IN" sz="1333" dirty="0">
                <a:solidFill>
                  <a:schemeClr val="bg1"/>
                </a:solidFill>
                <a:latin typeface="Arial" pitchFamily="34" charset="0"/>
                <a:cs typeface="Arial" pitchFamily="34" charset="0"/>
              </a:rPr>
              <a:t>, and draws on </a:t>
            </a:r>
            <a:r>
              <a:rPr lang="en-IN" sz="1333" dirty="0" err="1">
                <a:solidFill>
                  <a:schemeClr val="bg1"/>
                </a:solidFill>
                <a:latin typeface="Arial" pitchFamily="34" charset="0"/>
                <a:cs typeface="Arial" pitchFamily="34" charset="0"/>
              </a:rPr>
              <a:t>Rightshore</a:t>
            </a:r>
            <a:r>
              <a:rPr lang="en-US" sz="1333" b="1" baseline="30000" dirty="0">
                <a:solidFill>
                  <a:schemeClr val="bg1"/>
                </a:solidFill>
                <a:latin typeface="Arial" pitchFamily="34" charset="0"/>
                <a:cs typeface="Arial" pitchFamily="34" charset="0"/>
              </a:rPr>
              <a:t>®</a:t>
            </a:r>
            <a:r>
              <a:rPr lang="en-IN" sz="1333" dirty="0">
                <a:solidFill>
                  <a:schemeClr val="bg1"/>
                </a:solidFill>
                <a:latin typeface="Arial" pitchFamily="34" charset="0"/>
                <a:cs typeface="Arial" pitchFamily="34" charset="0"/>
              </a:rPr>
              <a:t>, its worldwide delivery model.</a:t>
            </a:r>
            <a:endParaRPr lang="en-US" sz="1333"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5804"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203526"/>
            <a:ext cx="4045000" cy="458351"/>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 Rightshore</a:t>
            </a:r>
            <a:r>
              <a:rPr lang="en-US" sz="800" b="0" baseline="30000" dirty="0">
                <a:solidFill>
                  <a:schemeClr val="bg1"/>
                </a:solidFill>
                <a:latin typeface="Arial" pitchFamily="34" charset="0"/>
                <a:cs typeface="Arial" pitchFamily="34" charset="0"/>
              </a:rPr>
              <a:t>®  </a:t>
            </a:r>
            <a:r>
              <a:rPr lang="en-US" sz="800" b="0" baseline="0" dirty="0">
                <a:solidFill>
                  <a:schemeClr val="bg1"/>
                </a:solidFill>
                <a:latin typeface="Arial" pitchFamily="34" charset="0"/>
                <a:cs typeface="Arial" pitchFamily="34" charset="0"/>
              </a:rPr>
              <a:t>is a trademark belonging to Capgemini.</a:t>
            </a:r>
            <a:endParaRPr lang="en-US" sz="8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30"/>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80000" tIns="67935" rIns="288000" bIns="192000" rtlCol="0" anchor="b"/>
          <a:lstStyle/>
          <a:p>
            <a:pPr marL="0" marR="0" indent="0" algn="just" defTabSz="1390587"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a:cs typeface="Arial"/>
              </a:rPr>
              <a:t>About Capgemini</a:t>
            </a:r>
            <a:endParaRPr lang="en-US" sz="1333" dirty="0">
              <a:solidFill>
                <a:schemeClr val="bg1"/>
              </a:solidFill>
              <a:latin typeface="Arial" pitchFamily="34" charset="0"/>
              <a:cs typeface="Arial" pitchFamily="34" charset="0"/>
            </a:endParaRPr>
          </a:p>
          <a:p>
            <a:pPr marL="0" indent="0" algn="just"/>
            <a:endParaRPr lang="en-US" sz="1333" dirty="0">
              <a:solidFill>
                <a:schemeClr val="bg1"/>
              </a:solidFill>
              <a:latin typeface="Arial" pitchFamily="34" charset="0"/>
              <a:cs typeface="Arial" pitchFamily="34" charset="0"/>
            </a:endParaRPr>
          </a:p>
          <a:p>
            <a:pPr marL="0" indent="0" algn="l"/>
            <a:r>
              <a:rPr lang="en-IN" sz="1333"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800"/>
              </a:spcBef>
            </a:pPr>
            <a:r>
              <a:rPr lang="en-IN" sz="1333"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800"/>
              </a:spcBef>
            </a:pPr>
            <a:r>
              <a:rPr lang="en-IN" sz="1333"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333" baseline="30000" dirty="0">
                <a:solidFill>
                  <a:schemeClr val="bg1"/>
                </a:solidFill>
                <a:latin typeface="Arial" pitchFamily="34" charset="0"/>
                <a:cs typeface="Arial" pitchFamily="34" charset="0"/>
              </a:rPr>
              <a:t>TM</a:t>
            </a:r>
            <a:r>
              <a:rPr lang="en-IN" sz="1333" dirty="0">
                <a:solidFill>
                  <a:schemeClr val="bg1"/>
                </a:solidFill>
                <a:latin typeface="Arial" pitchFamily="34" charset="0"/>
                <a:cs typeface="Arial" pitchFamily="34" charset="0"/>
              </a:rPr>
              <a:t>, and draws on </a:t>
            </a:r>
            <a:r>
              <a:rPr lang="en-IN" sz="1333" dirty="0" err="1">
                <a:solidFill>
                  <a:schemeClr val="bg1"/>
                </a:solidFill>
                <a:latin typeface="Arial" pitchFamily="34" charset="0"/>
                <a:cs typeface="Arial" pitchFamily="34" charset="0"/>
              </a:rPr>
              <a:t>Rightshore</a:t>
            </a:r>
            <a:r>
              <a:rPr lang="en-US" sz="1333" b="1" baseline="30000" dirty="0">
                <a:solidFill>
                  <a:schemeClr val="bg1"/>
                </a:solidFill>
                <a:latin typeface="Arial" pitchFamily="34" charset="0"/>
                <a:cs typeface="Arial" pitchFamily="34" charset="0"/>
              </a:rPr>
              <a:t>®</a:t>
            </a:r>
            <a:r>
              <a:rPr lang="en-IN" sz="1333" dirty="0">
                <a:solidFill>
                  <a:schemeClr val="bg1"/>
                </a:solidFill>
                <a:latin typeface="Arial" pitchFamily="34" charset="0"/>
                <a:cs typeface="Arial" pitchFamily="34" charset="0"/>
              </a:rPr>
              <a:t>, its worldwide delivery model.</a:t>
            </a:r>
            <a:endParaRPr lang="en-US" sz="1333"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7" y="3376054"/>
            <a:ext cx="3677432" cy="1767448"/>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3020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326637"/>
            <a:ext cx="4045000" cy="335240"/>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a:t>
            </a:r>
            <a:r>
              <a:rPr lang="en-US" sz="800" b="0" baseline="0" dirty="0">
                <a:solidFill>
                  <a:schemeClr val="bg1"/>
                </a:solidFill>
                <a:latin typeface="Arial" pitchFamily="34" charset="0"/>
                <a:cs typeface="Arial" pitchFamily="34" charset="0"/>
              </a:rPr>
              <a:t>.</a:t>
            </a:r>
            <a:endParaRPr lang="en-US" sz="800" b="0" kern="0" noProof="1">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8"/>
            <a:ext cx="9144000" cy="5885035"/>
          </a:xfrm>
          <a:prstGeom prst="rect">
            <a:avLst/>
          </a:prstGeom>
          <a:noFill/>
          <a:ln>
            <a:noFill/>
          </a:ln>
        </p:spPr>
      </p:pic>
      <p:sp>
        <p:nvSpPr>
          <p:cNvPr id="18" name="Rectangle 17"/>
          <p:cNvSpPr/>
          <p:nvPr userDrawn="1">
            <p:custDataLst>
              <p:tags r:id="rId2"/>
            </p:custDataLst>
          </p:nvPr>
        </p:nvSpPr>
        <p:spPr>
          <a:xfrm>
            <a:off x="0" y="6400878"/>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a:solidFill>
                <a:prstClr val="white"/>
              </a:solidFill>
            </a:endParaRPr>
          </a:p>
        </p:txBody>
      </p:sp>
      <p:sp>
        <p:nvSpPr>
          <p:cNvPr id="17" name="Rectangle 7"/>
          <p:cNvSpPr/>
          <p:nvPr userDrawn="1">
            <p:custDataLst>
              <p:tags r:id="rId3"/>
            </p:custDataLst>
          </p:nvPr>
        </p:nvSpPr>
        <p:spPr bwMode="auto">
          <a:xfrm>
            <a:off x="1" y="3"/>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44079" tIns="57301" rIns="44079" bIns="57301" rtlCol="0" anchor="ctr"/>
          <a:lstStyle/>
          <a:p>
            <a:pPr algn="ctr"/>
            <a:endParaRPr lang="en-US" sz="1333" dirty="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9260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5"/>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3" y="2959929"/>
            <a:ext cx="5035137" cy="1098157"/>
          </a:xfrm>
        </p:spPr>
        <p:txBody>
          <a:bodyPr lIns="720000" tIns="33059" rIns="33059" bIns="33059" anchor="t"/>
          <a:lstStyle>
            <a:lvl1pPr marL="0" indent="0" algn="l">
              <a:defRPr sz="4933"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7" y="4949633"/>
            <a:ext cx="4652387" cy="874227"/>
          </a:xfrm>
        </p:spPr>
        <p:txBody>
          <a:bodyPr lIns="720000" tIns="33059" rIns="33059" bIns="33059"/>
          <a:lstStyle>
            <a:lvl1pPr marL="0" indent="0" algn="l">
              <a:buNone/>
              <a:defRPr sz="2933" b="0">
                <a:solidFill>
                  <a:schemeClr val="tx1"/>
                </a:solidFill>
              </a:defRPr>
            </a:lvl1pPr>
            <a:lvl2pPr marL="609546" indent="0" algn="ctr">
              <a:buNone/>
              <a:defRPr>
                <a:solidFill>
                  <a:schemeClr val="tx1">
                    <a:tint val="75000"/>
                  </a:schemeClr>
                </a:solidFill>
              </a:defRPr>
            </a:lvl2pPr>
            <a:lvl3pPr marL="1219092" indent="0" algn="ctr">
              <a:buNone/>
              <a:defRPr>
                <a:solidFill>
                  <a:schemeClr val="tx1">
                    <a:tint val="75000"/>
                  </a:schemeClr>
                </a:solidFill>
              </a:defRPr>
            </a:lvl3pPr>
            <a:lvl4pPr marL="1828638" indent="0" algn="ctr">
              <a:buNone/>
              <a:defRPr>
                <a:solidFill>
                  <a:schemeClr val="tx1">
                    <a:tint val="75000"/>
                  </a:schemeClr>
                </a:solidFill>
              </a:defRPr>
            </a:lvl4pPr>
            <a:lvl5pPr marL="2438184" indent="0" algn="ctr">
              <a:buNone/>
              <a:defRPr>
                <a:solidFill>
                  <a:schemeClr val="tx1">
                    <a:tint val="75000"/>
                  </a:schemeClr>
                </a:solidFill>
              </a:defRPr>
            </a:lvl5pPr>
            <a:lvl6pPr marL="3047730" indent="0" algn="ctr">
              <a:buNone/>
              <a:defRPr>
                <a:solidFill>
                  <a:schemeClr val="tx1">
                    <a:tint val="75000"/>
                  </a:schemeClr>
                </a:solidFill>
              </a:defRPr>
            </a:lvl6pPr>
            <a:lvl7pPr marL="3657277" indent="0" algn="ctr">
              <a:buNone/>
              <a:defRPr>
                <a:solidFill>
                  <a:schemeClr val="tx1">
                    <a:tint val="75000"/>
                  </a:schemeClr>
                </a:solidFill>
              </a:defRPr>
            </a:lvl7pPr>
            <a:lvl8pPr marL="4266824" indent="0" algn="ctr">
              <a:buNone/>
              <a:defRPr>
                <a:solidFill>
                  <a:schemeClr val="tx1">
                    <a:tint val="75000"/>
                  </a:schemeClr>
                </a:solidFill>
              </a:defRPr>
            </a:lvl8pPr>
            <a:lvl9pPr marL="4876370"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7923049"/>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36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21920" tIns="60960" rIns="121920" bIns="60960" numCol="1" anchor="t" anchorCtr="0" compatLnSpc="1">
            <a:prstTxWarp prst="textNoShape">
              <a:avLst/>
            </a:prstTxWarp>
          </a:bodyPr>
          <a:lstStyle/>
          <a:p>
            <a:pPr algn="ctr" eaLnBrk="0" fontAlgn="base" hangingPunct="0">
              <a:lnSpc>
                <a:spcPct val="85000"/>
              </a:lnSpc>
              <a:spcBef>
                <a:spcPct val="0"/>
              </a:spcBef>
              <a:spcAft>
                <a:spcPct val="0"/>
              </a:spcAft>
            </a:pPr>
            <a:endParaRPr lang="en-US" sz="2667" b="1" dirty="0">
              <a:solidFill>
                <a:srgbClr val="909090"/>
              </a:solidFill>
            </a:endParaRPr>
          </a:p>
        </p:txBody>
      </p:sp>
      <p:sp>
        <p:nvSpPr>
          <p:cNvPr id="2" name="Titre 1"/>
          <p:cNvSpPr>
            <a:spLocks noGrp="1"/>
          </p:cNvSpPr>
          <p:nvPr>
            <p:ph type="title" hasCustomPrompt="1"/>
            <p:custDataLst>
              <p:tags r:id="rId3"/>
            </p:custDataLst>
          </p:nvPr>
        </p:nvSpPr>
        <p:spPr>
          <a:xfrm>
            <a:off x="290150" y="962025"/>
            <a:ext cx="2883877" cy="2248140"/>
          </a:xfrm>
          <a:prstGeom prst="rect">
            <a:avLst/>
          </a:prstGeom>
        </p:spPr>
        <p:txBody>
          <a:bodyPr lIns="180000" tIns="33059" rIns="36000" bIns="33059" anchor="ctr" anchorCtr="0"/>
          <a:lstStyle>
            <a:lvl1pPr algn="l">
              <a:defRPr lang="en-US" sz="5333"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11956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42"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25941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46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7"/>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81960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56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8"/>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9"/>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6875108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66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40"/>
            <a:ext cx="4155820" cy="471550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2"/>
            <a:ext cx="4155820" cy="472558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6252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88572"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21920" tIns="60960" rIns="121920" bIns="6096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667"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50" y="962025"/>
            <a:ext cx="2883877" cy="2248140"/>
          </a:xfrm>
          <a:prstGeom prst="rect">
            <a:avLst/>
          </a:prstGeom>
        </p:spPr>
        <p:txBody>
          <a:bodyPr lIns="180000" tIns="33059" rIns="36000" bIns="33059" anchor="ctr" anchorCtr="0"/>
          <a:lstStyle>
            <a:lvl1pPr algn="l">
              <a:defRPr lang="en-US" sz="5333"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11956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42" y="1512000"/>
            <a:ext cx="4851889"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77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933"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933"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5002570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600"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39685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87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18273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97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9011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8940"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7"/>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9964"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8"/>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9"/>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4059"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40"/>
            <a:ext cx="4155820" cy="471550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2"/>
            <a:ext cx="4155820" cy="472558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3035"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933"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933"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600"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201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76955"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3.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slideLayout" Target="../slideLayouts/slideLayout16.xml"/><Relationship Id="rId16" Type="http://schemas.openxmlformats.org/officeDocument/2006/relationships/tags" Target="../tags/tag63.xml"/><Relationship Id="rId20" Type="http://schemas.openxmlformats.org/officeDocument/2006/relationships/oleObject" Target="../embeddings/oleObject16.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16.vml"/><Relationship Id="rId5" Type="http://schemas.openxmlformats.org/officeDocument/2006/relationships/slideLayout" Target="../slideLayouts/slideLayout19.xml"/><Relationship Id="rId15" Type="http://schemas.openxmlformats.org/officeDocument/2006/relationships/tags" Target="../tags/tag62.xml"/><Relationship Id="rId10" Type="http://schemas.openxmlformats.org/officeDocument/2006/relationships/theme" Target="../theme/theme4.xml"/><Relationship Id="rId19" Type="http://schemas.openxmlformats.org/officeDocument/2006/relationships/tags" Target="../tags/tag66.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6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2203"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8" y="1501979"/>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08844" y="6643773"/>
            <a:ext cx="147476" cy="143565"/>
          </a:xfrm>
          <a:prstGeom prst="rect">
            <a:avLst/>
          </a:prstGeom>
          <a:noFill/>
        </p:spPr>
        <p:txBody>
          <a:bodyPr wrap="none" lIns="0" tIns="0" rIns="0" bIns="0" rtlCol="0" anchor="ctr">
            <a:spAutoFit/>
          </a:bodyPr>
          <a:lstStyle/>
          <a:p>
            <a:pPr algn="ctr"/>
            <a:fld id="{6A895693-0027-4F28-9367-92E39A51F51C}" type="slidenum">
              <a:rPr lang="en-US" sz="933" smtClean="0">
                <a:solidFill>
                  <a:schemeClr val="tx2"/>
                </a:solidFill>
              </a:rPr>
              <a:pPr algn="ctr"/>
              <a:t>‹#›</a:t>
            </a:fld>
            <a:endParaRPr lang="en-US" sz="933" dirty="0">
              <a:solidFill>
                <a:schemeClr val="tx2"/>
              </a:solidFill>
            </a:endParaRPr>
          </a:p>
        </p:txBody>
      </p:sp>
      <p:sp>
        <p:nvSpPr>
          <p:cNvPr id="9" name="Freeform 4"/>
          <p:cNvSpPr>
            <a:spLocks/>
          </p:cNvSpPr>
          <p:nvPr>
            <p:custDataLst>
              <p:tags r:id="rId17"/>
            </p:custDataLst>
          </p:nvPr>
        </p:nvSpPr>
        <p:spPr bwMode="auto">
          <a:xfrm>
            <a:off x="4" y="676403"/>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32751" tIns="66376" rIns="132751" bIns="66376" numCol="1" anchor="t" anchorCtr="0" compatLnSpc="1">
            <a:prstTxWarp prst="textNoShape">
              <a:avLst/>
            </a:prstTxWarp>
          </a:bodyPr>
          <a:lstStyle/>
          <a:p>
            <a:endParaRPr lang="fr-FR" sz="2533" dirty="0"/>
          </a:p>
        </p:txBody>
      </p:sp>
      <p:sp>
        <p:nvSpPr>
          <p:cNvPr id="12" name="Rectangle 11"/>
          <p:cNvSpPr>
            <a:spLocks noChangeArrowheads="1"/>
          </p:cNvSpPr>
          <p:nvPr>
            <p:custDataLst>
              <p:tags r:id="rId18"/>
            </p:custDataLst>
          </p:nvPr>
        </p:nvSpPr>
        <p:spPr bwMode="auto">
          <a:xfrm>
            <a:off x="6223230" y="6623407"/>
            <a:ext cx="2455979" cy="183503"/>
          </a:xfrm>
          <a:prstGeom prst="rect">
            <a:avLst/>
          </a:prstGeom>
          <a:noFill/>
          <a:ln w="19050">
            <a:noFill/>
            <a:miter lim="800000"/>
            <a:headEnd/>
            <a:tailEnd/>
          </a:ln>
          <a:effectLst/>
        </p:spPr>
        <p:txBody>
          <a:bodyPr wrap="square" lIns="47996" tIns="47996" rIns="47996" bIns="47996" anchor="b" anchorCtr="0">
            <a:noAutofit/>
          </a:bodyPr>
          <a:lstStyle/>
          <a:p>
            <a:pPr marL="0" marR="0" lvl="0" indent="0" algn="r" defTabSz="1327227" rtl="0" eaLnBrk="0" fontAlgn="auto" latinLnBrk="0" hangingPunct="0">
              <a:lnSpc>
                <a:spcPct val="90000"/>
              </a:lnSpc>
              <a:spcBef>
                <a:spcPct val="10000"/>
              </a:spcBef>
              <a:spcAft>
                <a:spcPts val="0"/>
              </a:spcAft>
              <a:buClrTx/>
              <a:buSzTx/>
              <a:buFontTx/>
              <a:buNone/>
              <a:tabLst/>
              <a:defRPr/>
            </a:pPr>
            <a:r>
              <a:rPr lang="en-US" altLang="en-US" sz="800" b="0" i="0" noProof="0" dirty="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6911929" y="6427225"/>
            <a:ext cx="1767281" cy="195814"/>
          </a:xfrm>
          <a:prstGeom prst="rect">
            <a:avLst/>
          </a:prstGeom>
        </p:spPr>
        <p:txBody>
          <a:bodyPr wrap="none" lIns="47996" tIns="47996" rIns="47996" bIns="47996" anchor="b" anchorCtr="0">
            <a:noAutofit/>
          </a:bodyPr>
          <a:lstStyle/>
          <a:p>
            <a:pPr algn="r"/>
            <a:r>
              <a:rPr lang="en-US" sz="933" dirty="0">
                <a:solidFill>
                  <a:schemeClr val="tx2"/>
                </a:solidFill>
                <a:latin typeface="+mj-lt"/>
              </a:rPr>
              <a:t>Presentation Title | Date</a:t>
            </a:r>
          </a:p>
        </p:txBody>
      </p:sp>
      <p:cxnSp>
        <p:nvCxnSpPr>
          <p:cNvPr id="15" name="Straight Connector 5"/>
          <p:cNvCxnSpPr/>
          <p:nvPr>
            <p:custDataLst>
              <p:tags r:id="rId20"/>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30"/>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4001" r:id="rId10"/>
  </p:sldLayoutIdLst>
  <p:hf sldNum="0" hdr="0" dt="0"/>
  <p:txStyles>
    <p:titleStyle>
      <a:lvl1pPr marL="0" indent="0" algn="l" defTabSz="1219092" rtl="0" eaLnBrk="1" latinLnBrk="0" hangingPunct="1">
        <a:lnSpc>
          <a:spcPct val="85000"/>
        </a:lnSpc>
        <a:spcBef>
          <a:spcPct val="0"/>
        </a:spcBef>
        <a:buNone/>
        <a:defRPr sz="4267" b="0" kern="1200">
          <a:solidFill>
            <a:schemeClr val="tx1"/>
          </a:solidFill>
          <a:latin typeface="+mj-lt"/>
          <a:ea typeface="+mj-ea"/>
          <a:cs typeface="+mj-cs"/>
        </a:defRPr>
      </a:lvl1pPr>
    </p:titleStyle>
    <p:bodyStyle>
      <a:lvl1pPr marL="221580" indent="-221580" algn="l" defTabSz="1219092" rtl="0" eaLnBrk="1" latinLnBrk="0" hangingPunct="1">
        <a:lnSpc>
          <a:spcPct val="90000"/>
        </a:lnSpc>
        <a:spcBef>
          <a:spcPts val="0"/>
        </a:spcBef>
        <a:spcAft>
          <a:spcPts val="800"/>
        </a:spcAft>
        <a:buClr>
          <a:schemeClr val="accent5"/>
        </a:buClr>
        <a:buFont typeface="Wingdings" pitchFamily="2" charset="2"/>
        <a:buChar char="§"/>
        <a:defRPr sz="2933" b="0" kern="1200">
          <a:solidFill>
            <a:schemeClr val="bg2">
              <a:lumMod val="50000"/>
            </a:schemeClr>
          </a:solidFill>
          <a:latin typeface="+mn-lt"/>
          <a:ea typeface="+mn-ea"/>
          <a:cs typeface="+mn-cs"/>
        </a:defRPr>
      </a:lvl1pPr>
      <a:lvl2pPr marL="474121" indent="-241294" algn="l" defTabSz="1219092" rtl="0" eaLnBrk="1" latinLnBrk="0" hangingPunct="1">
        <a:lnSpc>
          <a:spcPct val="90000"/>
        </a:lnSpc>
        <a:spcBef>
          <a:spcPts val="0"/>
        </a:spcBef>
        <a:spcAft>
          <a:spcPts val="800"/>
        </a:spcAft>
        <a:buClr>
          <a:schemeClr val="accent3"/>
        </a:buClr>
        <a:buFont typeface="Wingdings" pitchFamily="2" charset="2"/>
        <a:buChar char="§"/>
        <a:defRPr sz="2400" kern="1200">
          <a:solidFill>
            <a:schemeClr val="bg2">
              <a:lumMod val="50000"/>
            </a:schemeClr>
          </a:solidFill>
          <a:latin typeface="+mn-lt"/>
          <a:ea typeface="+mn-ea"/>
          <a:cs typeface="+mn-cs"/>
        </a:defRPr>
      </a:lvl2pPr>
      <a:lvl3pPr marL="715415" indent="-220128" algn="l" defTabSz="1219092" rtl="0" eaLnBrk="1" latinLnBrk="0" hangingPunct="1">
        <a:lnSpc>
          <a:spcPct val="90000"/>
        </a:lnSpc>
        <a:spcBef>
          <a:spcPts val="0"/>
        </a:spcBef>
        <a:spcAft>
          <a:spcPts val="800"/>
        </a:spcAft>
        <a:buClr>
          <a:schemeClr val="accent2"/>
        </a:buClr>
        <a:buFont typeface="Arial" pitchFamily="34" charset="0"/>
        <a:buChar char="•"/>
        <a:tabLst/>
        <a:defRPr sz="2133" kern="1200">
          <a:solidFill>
            <a:schemeClr val="bg2">
              <a:lumMod val="50000"/>
            </a:schemeClr>
          </a:solidFill>
          <a:latin typeface="+mn-lt"/>
          <a:ea typeface="+mn-ea"/>
          <a:cs typeface="+mn-cs"/>
        </a:defRPr>
      </a:lvl3pPr>
      <a:lvl4pPr marL="948243" indent="-220128" algn="l" defTabSz="1219092" rtl="0" eaLnBrk="1" latinLnBrk="0" hangingPunct="1">
        <a:lnSpc>
          <a:spcPct val="90000"/>
        </a:lnSpc>
        <a:spcBef>
          <a:spcPts val="0"/>
        </a:spcBef>
        <a:spcAft>
          <a:spcPts val="800"/>
        </a:spcAft>
        <a:buClr>
          <a:schemeClr val="bg2"/>
        </a:buClr>
        <a:buFont typeface="Arial" pitchFamily="34" charset="0"/>
        <a:buChar char="–"/>
        <a:tabLst/>
        <a:defRPr sz="1867" kern="1200">
          <a:solidFill>
            <a:schemeClr val="bg2">
              <a:lumMod val="50000"/>
            </a:schemeClr>
          </a:solidFill>
          <a:latin typeface="+mn-lt"/>
          <a:ea typeface="+mn-ea"/>
          <a:cs typeface="+mn-cs"/>
        </a:defRPr>
      </a:lvl4pPr>
      <a:lvl5pPr marL="2146112" indent="-258211" algn="l" defTabSz="1219092" rtl="0" eaLnBrk="1" latinLnBrk="0" hangingPunct="1">
        <a:spcBef>
          <a:spcPts val="0"/>
        </a:spcBef>
        <a:buClr>
          <a:srgbClr val="B1B1B1"/>
        </a:buClr>
        <a:buFont typeface="Arial" pitchFamily="34" charset="0"/>
        <a:buChar char="–"/>
        <a:defRPr sz="2267" kern="1200">
          <a:solidFill>
            <a:srgbClr val="494949"/>
          </a:solidFill>
          <a:latin typeface="+mn-lt"/>
          <a:ea typeface="+mn-ea"/>
          <a:cs typeface="+mn-cs"/>
        </a:defRPr>
      </a:lvl5pPr>
      <a:lvl6pPr marL="3352504"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50"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96"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142"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92" rtl="0" eaLnBrk="1" latinLnBrk="0" hangingPunct="1">
        <a:defRPr sz="2400" kern="1200">
          <a:solidFill>
            <a:schemeClr val="tx1"/>
          </a:solidFill>
          <a:latin typeface="+mn-lt"/>
          <a:ea typeface="+mn-ea"/>
          <a:cs typeface="+mn-cs"/>
        </a:defRPr>
      </a:lvl1pPr>
      <a:lvl2pPr marL="609546" algn="l" defTabSz="1219092" rtl="0" eaLnBrk="1" latinLnBrk="0" hangingPunct="1">
        <a:defRPr sz="2400" kern="1200">
          <a:solidFill>
            <a:schemeClr val="tx1"/>
          </a:solidFill>
          <a:latin typeface="+mn-lt"/>
          <a:ea typeface="+mn-ea"/>
          <a:cs typeface="+mn-cs"/>
        </a:defRPr>
      </a:lvl2pPr>
      <a:lvl3pPr marL="1219092" algn="l" defTabSz="1219092" rtl="0" eaLnBrk="1" latinLnBrk="0" hangingPunct="1">
        <a:defRPr sz="2400" kern="1200">
          <a:solidFill>
            <a:schemeClr val="tx1"/>
          </a:solidFill>
          <a:latin typeface="+mn-lt"/>
          <a:ea typeface="+mn-ea"/>
          <a:cs typeface="+mn-cs"/>
        </a:defRPr>
      </a:lvl3pPr>
      <a:lvl4pPr marL="1828638" algn="l" defTabSz="1219092" rtl="0" eaLnBrk="1" latinLnBrk="0" hangingPunct="1">
        <a:defRPr sz="2400" kern="1200">
          <a:solidFill>
            <a:schemeClr val="tx1"/>
          </a:solidFill>
          <a:latin typeface="+mn-lt"/>
          <a:ea typeface="+mn-ea"/>
          <a:cs typeface="+mn-cs"/>
        </a:defRPr>
      </a:lvl4pPr>
      <a:lvl5pPr marL="2438184" algn="l" defTabSz="1219092" rtl="0" eaLnBrk="1" latinLnBrk="0" hangingPunct="1">
        <a:defRPr sz="2400" kern="1200">
          <a:solidFill>
            <a:schemeClr val="tx1"/>
          </a:solidFill>
          <a:latin typeface="+mn-lt"/>
          <a:ea typeface="+mn-ea"/>
          <a:cs typeface="+mn-cs"/>
        </a:defRPr>
      </a:lvl5pPr>
      <a:lvl6pPr marL="3047730" algn="l" defTabSz="1219092" rtl="0" eaLnBrk="1" latinLnBrk="0" hangingPunct="1">
        <a:defRPr sz="2400" kern="1200">
          <a:solidFill>
            <a:schemeClr val="tx1"/>
          </a:solidFill>
          <a:latin typeface="+mn-lt"/>
          <a:ea typeface="+mn-ea"/>
          <a:cs typeface="+mn-cs"/>
        </a:defRPr>
      </a:lvl6pPr>
      <a:lvl7pPr marL="3657277" algn="l" defTabSz="1219092" rtl="0" eaLnBrk="1" latinLnBrk="0" hangingPunct="1">
        <a:defRPr sz="2400" kern="1200">
          <a:solidFill>
            <a:schemeClr val="tx1"/>
          </a:solidFill>
          <a:latin typeface="+mn-lt"/>
          <a:ea typeface="+mn-ea"/>
          <a:cs typeface="+mn-cs"/>
        </a:defRPr>
      </a:lvl7pPr>
      <a:lvl8pPr marL="4266824" algn="l" defTabSz="1219092" rtl="0" eaLnBrk="1" latinLnBrk="0" hangingPunct="1">
        <a:defRPr sz="2400" kern="1200">
          <a:solidFill>
            <a:schemeClr val="tx1"/>
          </a:solidFill>
          <a:latin typeface="+mn-lt"/>
          <a:ea typeface="+mn-ea"/>
          <a:cs typeface="+mn-cs"/>
        </a:defRPr>
      </a:lvl8pPr>
      <a:lvl9pPr marL="4876370" algn="l" defTabSz="121909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917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1119564" rtl="0" eaLnBrk="1" latinLnBrk="0" hangingPunct="1">
        <a:spcBef>
          <a:spcPct val="0"/>
        </a:spcBef>
        <a:buNone/>
        <a:defRPr sz="5333" kern="1200">
          <a:solidFill>
            <a:schemeClr val="tx1"/>
          </a:solidFill>
          <a:latin typeface="+mj-lt"/>
          <a:ea typeface="+mj-ea"/>
          <a:cs typeface="+mj-cs"/>
        </a:defRPr>
      </a:lvl1pPr>
    </p:titleStyle>
    <p:bodyStyle>
      <a:lvl1pPr marL="419836" indent="-419836" algn="l" defTabSz="1119564" rtl="0" eaLnBrk="1" latinLnBrk="0" hangingPunct="1">
        <a:spcBef>
          <a:spcPct val="20000"/>
        </a:spcBef>
        <a:buFont typeface="Arial" pitchFamily="34" charset="0"/>
        <a:buChar char="•"/>
        <a:defRPr sz="3867" kern="1200">
          <a:solidFill>
            <a:schemeClr val="tx1"/>
          </a:solidFill>
          <a:latin typeface="+mn-lt"/>
          <a:ea typeface="+mn-ea"/>
          <a:cs typeface="+mn-cs"/>
        </a:defRPr>
      </a:lvl1pPr>
      <a:lvl2pPr marL="909645" indent="-349863" algn="l" defTabSz="1119564" rtl="0" eaLnBrk="1" latinLnBrk="0" hangingPunct="1">
        <a:spcBef>
          <a:spcPct val="20000"/>
        </a:spcBef>
        <a:buFont typeface="Arial" pitchFamily="34" charset="0"/>
        <a:buChar char="–"/>
        <a:defRPr sz="3467" kern="1200">
          <a:solidFill>
            <a:schemeClr val="tx1"/>
          </a:solidFill>
          <a:latin typeface="+mn-lt"/>
          <a:ea typeface="+mn-ea"/>
          <a:cs typeface="+mn-cs"/>
        </a:defRPr>
      </a:lvl2pPr>
      <a:lvl3pPr marL="1399454" indent="-279890" algn="l" defTabSz="1119564" rtl="0" eaLnBrk="1" latinLnBrk="0" hangingPunct="1">
        <a:spcBef>
          <a:spcPct val="20000"/>
        </a:spcBef>
        <a:buFont typeface="Arial" pitchFamily="34" charset="0"/>
        <a:buChar char="•"/>
        <a:defRPr sz="2933" kern="1200">
          <a:solidFill>
            <a:schemeClr val="tx1"/>
          </a:solidFill>
          <a:latin typeface="+mn-lt"/>
          <a:ea typeface="+mn-ea"/>
          <a:cs typeface="+mn-cs"/>
        </a:defRPr>
      </a:lvl3pPr>
      <a:lvl4pPr marL="1959236"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519017"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78799"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8581"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8363"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8144"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119564" rtl="0" eaLnBrk="1" latinLnBrk="0" hangingPunct="1">
        <a:defRPr sz="2267" kern="1200">
          <a:solidFill>
            <a:schemeClr val="tx1"/>
          </a:solidFill>
          <a:latin typeface="+mn-lt"/>
          <a:ea typeface="+mn-ea"/>
          <a:cs typeface="+mn-cs"/>
        </a:defRPr>
      </a:lvl1pPr>
      <a:lvl2pPr marL="559782" algn="l" defTabSz="1119564" rtl="0" eaLnBrk="1" latinLnBrk="0" hangingPunct="1">
        <a:defRPr sz="2267" kern="1200">
          <a:solidFill>
            <a:schemeClr val="tx1"/>
          </a:solidFill>
          <a:latin typeface="+mn-lt"/>
          <a:ea typeface="+mn-ea"/>
          <a:cs typeface="+mn-cs"/>
        </a:defRPr>
      </a:lvl2pPr>
      <a:lvl3pPr marL="1119564" algn="l" defTabSz="1119564" rtl="0" eaLnBrk="1" latinLnBrk="0" hangingPunct="1">
        <a:defRPr sz="2267" kern="1200">
          <a:solidFill>
            <a:schemeClr val="tx1"/>
          </a:solidFill>
          <a:latin typeface="+mn-lt"/>
          <a:ea typeface="+mn-ea"/>
          <a:cs typeface="+mn-cs"/>
        </a:defRPr>
      </a:lvl3pPr>
      <a:lvl4pPr marL="1679345" algn="l" defTabSz="1119564" rtl="0" eaLnBrk="1" latinLnBrk="0" hangingPunct="1">
        <a:defRPr sz="2267" kern="1200">
          <a:solidFill>
            <a:schemeClr val="tx1"/>
          </a:solidFill>
          <a:latin typeface="+mn-lt"/>
          <a:ea typeface="+mn-ea"/>
          <a:cs typeface="+mn-cs"/>
        </a:defRPr>
      </a:lvl4pPr>
      <a:lvl5pPr marL="2239127" algn="l" defTabSz="1119564" rtl="0" eaLnBrk="1" latinLnBrk="0" hangingPunct="1">
        <a:defRPr sz="2267" kern="1200">
          <a:solidFill>
            <a:schemeClr val="tx1"/>
          </a:solidFill>
          <a:latin typeface="+mn-lt"/>
          <a:ea typeface="+mn-ea"/>
          <a:cs typeface="+mn-cs"/>
        </a:defRPr>
      </a:lvl5pPr>
      <a:lvl6pPr marL="2798909" algn="l" defTabSz="1119564" rtl="0" eaLnBrk="1" latinLnBrk="0" hangingPunct="1">
        <a:defRPr sz="2267" kern="1200">
          <a:solidFill>
            <a:schemeClr val="tx1"/>
          </a:solidFill>
          <a:latin typeface="+mn-lt"/>
          <a:ea typeface="+mn-ea"/>
          <a:cs typeface="+mn-cs"/>
        </a:defRPr>
      </a:lvl6pPr>
      <a:lvl7pPr marL="3358691" algn="l" defTabSz="1119564" rtl="0" eaLnBrk="1" latinLnBrk="0" hangingPunct="1">
        <a:defRPr sz="2267" kern="1200">
          <a:solidFill>
            <a:schemeClr val="tx1"/>
          </a:solidFill>
          <a:latin typeface="+mn-lt"/>
          <a:ea typeface="+mn-ea"/>
          <a:cs typeface="+mn-cs"/>
        </a:defRPr>
      </a:lvl7pPr>
      <a:lvl8pPr marL="3918471" algn="l" defTabSz="1119564" rtl="0" eaLnBrk="1" latinLnBrk="0" hangingPunct="1">
        <a:defRPr sz="2267" kern="1200">
          <a:solidFill>
            <a:schemeClr val="tx1"/>
          </a:solidFill>
          <a:latin typeface="+mn-lt"/>
          <a:ea typeface="+mn-ea"/>
          <a:cs typeface="+mn-cs"/>
        </a:defRPr>
      </a:lvl8pPr>
      <a:lvl9pPr marL="4478253" algn="l" defTabSz="1119564" rtl="0" eaLnBrk="1" latinLnBrk="0" hangingPunct="1">
        <a:defRPr sz="22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33275"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6"/>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2"/>
            <a:ext cx="2873702" cy="238571"/>
          </a:xfrm>
          <a:prstGeom prst="rect">
            <a:avLst/>
          </a:prstGeom>
          <a:noFill/>
          <a:ln>
            <a:noFill/>
          </a:ln>
        </p:spPr>
      </p:pic>
      <p:sp>
        <p:nvSpPr>
          <p:cNvPr id="15" name="Rectangle 14"/>
          <p:cNvSpPr/>
          <p:nvPr>
            <p:custDataLst>
              <p:tags r:id="rId9"/>
            </p:custDataLst>
          </p:nvPr>
        </p:nvSpPr>
        <p:spPr>
          <a:xfrm>
            <a:off x="5202861" y="5331046"/>
            <a:ext cx="3369640" cy="507371"/>
          </a:xfrm>
          <a:prstGeom prst="rect">
            <a:avLst/>
          </a:prstGeom>
        </p:spPr>
        <p:txBody>
          <a:bodyPr wrap="none" lIns="0" tIns="48000" rIns="0" bIns="48000" anchor="b" anchorCtr="0">
            <a:spAutoFit/>
          </a:bodyPr>
          <a:lstStyle/>
          <a:p>
            <a:pPr algn="r"/>
            <a:r>
              <a:rPr lang="en-US" sz="2667"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300"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12" y="5932549"/>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1119564" rtl="0" eaLnBrk="1" latinLnBrk="0" hangingPunct="1">
        <a:spcBef>
          <a:spcPct val="0"/>
        </a:spcBef>
        <a:buNone/>
        <a:defRPr sz="5333" kern="1200">
          <a:solidFill>
            <a:schemeClr val="tx1"/>
          </a:solidFill>
          <a:latin typeface="+mj-lt"/>
          <a:ea typeface="+mj-ea"/>
          <a:cs typeface="+mj-cs"/>
        </a:defRPr>
      </a:lvl1pPr>
    </p:titleStyle>
    <p:bodyStyle>
      <a:lvl1pPr marL="419836" indent="-419836" algn="l" defTabSz="1119564" rtl="0" eaLnBrk="1" latinLnBrk="0" hangingPunct="1">
        <a:spcBef>
          <a:spcPct val="20000"/>
        </a:spcBef>
        <a:buFont typeface="Arial" pitchFamily="34" charset="0"/>
        <a:buChar char="•"/>
        <a:defRPr sz="3867" kern="1200">
          <a:solidFill>
            <a:schemeClr val="tx1"/>
          </a:solidFill>
          <a:latin typeface="+mn-lt"/>
          <a:ea typeface="+mn-ea"/>
          <a:cs typeface="+mn-cs"/>
        </a:defRPr>
      </a:lvl1pPr>
      <a:lvl2pPr marL="909645" indent="-349863" algn="l" defTabSz="1119564" rtl="0" eaLnBrk="1" latinLnBrk="0" hangingPunct="1">
        <a:spcBef>
          <a:spcPct val="20000"/>
        </a:spcBef>
        <a:buFont typeface="Arial" pitchFamily="34" charset="0"/>
        <a:buChar char="–"/>
        <a:defRPr sz="3467" kern="1200">
          <a:solidFill>
            <a:schemeClr val="tx1"/>
          </a:solidFill>
          <a:latin typeface="+mn-lt"/>
          <a:ea typeface="+mn-ea"/>
          <a:cs typeface="+mn-cs"/>
        </a:defRPr>
      </a:lvl2pPr>
      <a:lvl3pPr marL="1399454" indent="-279890" algn="l" defTabSz="1119564" rtl="0" eaLnBrk="1" latinLnBrk="0" hangingPunct="1">
        <a:spcBef>
          <a:spcPct val="20000"/>
        </a:spcBef>
        <a:buFont typeface="Arial" pitchFamily="34" charset="0"/>
        <a:buChar char="•"/>
        <a:defRPr sz="2933" kern="1200">
          <a:solidFill>
            <a:schemeClr val="tx1"/>
          </a:solidFill>
          <a:latin typeface="+mn-lt"/>
          <a:ea typeface="+mn-ea"/>
          <a:cs typeface="+mn-cs"/>
        </a:defRPr>
      </a:lvl3pPr>
      <a:lvl4pPr marL="1959236"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519017"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78799"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8581"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8363"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8144"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119564" rtl="0" eaLnBrk="1" latinLnBrk="0" hangingPunct="1">
        <a:defRPr sz="2267" kern="1200">
          <a:solidFill>
            <a:schemeClr val="tx1"/>
          </a:solidFill>
          <a:latin typeface="+mn-lt"/>
          <a:ea typeface="+mn-ea"/>
          <a:cs typeface="+mn-cs"/>
        </a:defRPr>
      </a:lvl1pPr>
      <a:lvl2pPr marL="559782" algn="l" defTabSz="1119564" rtl="0" eaLnBrk="1" latinLnBrk="0" hangingPunct="1">
        <a:defRPr sz="2267" kern="1200">
          <a:solidFill>
            <a:schemeClr val="tx1"/>
          </a:solidFill>
          <a:latin typeface="+mn-lt"/>
          <a:ea typeface="+mn-ea"/>
          <a:cs typeface="+mn-cs"/>
        </a:defRPr>
      </a:lvl2pPr>
      <a:lvl3pPr marL="1119564" algn="l" defTabSz="1119564" rtl="0" eaLnBrk="1" latinLnBrk="0" hangingPunct="1">
        <a:defRPr sz="2267" kern="1200">
          <a:solidFill>
            <a:schemeClr val="tx1"/>
          </a:solidFill>
          <a:latin typeface="+mn-lt"/>
          <a:ea typeface="+mn-ea"/>
          <a:cs typeface="+mn-cs"/>
        </a:defRPr>
      </a:lvl3pPr>
      <a:lvl4pPr marL="1679345" algn="l" defTabSz="1119564" rtl="0" eaLnBrk="1" latinLnBrk="0" hangingPunct="1">
        <a:defRPr sz="2267" kern="1200">
          <a:solidFill>
            <a:schemeClr val="tx1"/>
          </a:solidFill>
          <a:latin typeface="+mn-lt"/>
          <a:ea typeface="+mn-ea"/>
          <a:cs typeface="+mn-cs"/>
        </a:defRPr>
      </a:lvl4pPr>
      <a:lvl5pPr marL="2239127" algn="l" defTabSz="1119564" rtl="0" eaLnBrk="1" latinLnBrk="0" hangingPunct="1">
        <a:defRPr sz="2267" kern="1200">
          <a:solidFill>
            <a:schemeClr val="tx1"/>
          </a:solidFill>
          <a:latin typeface="+mn-lt"/>
          <a:ea typeface="+mn-ea"/>
          <a:cs typeface="+mn-cs"/>
        </a:defRPr>
      </a:lvl5pPr>
      <a:lvl6pPr marL="2798909" algn="l" defTabSz="1119564" rtl="0" eaLnBrk="1" latinLnBrk="0" hangingPunct="1">
        <a:defRPr sz="2267" kern="1200">
          <a:solidFill>
            <a:schemeClr val="tx1"/>
          </a:solidFill>
          <a:latin typeface="+mn-lt"/>
          <a:ea typeface="+mn-ea"/>
          <a:cs typeface="+mn-cs"/>
        </a:defRPr>
      </a:lvl6pPr>
      <a:lvl7pPr marL="3358691" algn="l" defTabSz="1119564" rtl="0" eaLnBrk="1" latinLnBrk="0" hangingPunct="1">
        <a:defRPr sz="2267" kern="1200">
          <a:solidFill>
            <a:schemeClr val="tx1"/>
          </a:solidFill>
          <a:latin typeface="+mn-lt"/>
          <a:ea typeface="+mn-ea"/>
          <a:cs typeface="+mn-cs"/>
        </a:defRPr>
      </a:lvl7pPr>
      <a:lvl8pPr marL="3918471" algn="l" defTabSz="1119564" rtl="0" eaLnBrk="1" latinLnBrk="0" hangingPunct="1">
        <a:defRPr sz="2267" kern="1200">
          <a:solidFill>
            <a:schemeClr val="tx1"/>
          </a:solidFill>
          <a:latin typeface="+mn-lt"/>
          <a:ea typeface="+mn-ea"/>
          <a:cs typeface="+mn-cs"/>
        </a:defRPr>
      </a:lvl8pPr>
      <a:lvl9pPr marL="4478253" algn="l" defTabSz="1119564" rtl="0" eaLnBrk="1" latinLnBrk="0" hangingPunct="1">
        <a:defRPr sz="22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91578"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8" y="1501979"/>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8808844" y="6643773"/>
            <a:ext cx="147476" cy="143565"/>
          </a:xfrm>
          <a:prstGeom prst="rect">
            <a:avLst/>
          </a:prstGeom>
          <a:noFill/>
        </p:spPr>
        <p:txBody>
          <a:bodyPr wrap="none" lIns="0" tIns="0" rIns="0" bIns="0" rtlCol="0" anchor="ctr">
            <a:spAutoFit/>
          </a:bodyPr>
          <a:lstStyle/>
          <a:p>
            <a:pPr algn="ctr"/>
            <a:fld id="{6A895693-0027-4F28-9367-92E39A51F51C}" type="slidenum">
              <a:rPr lang="en-US" sz="933" smtClean="0">
                <a:solidFill>
                  <a:srgbClr val="9F958F"/>
                </a:solidFill>
              </a:rPr>
              <a:pPr algn="ctr"/>
              <a:t>‹#›</a:t>
            </a:fld>
            <a:endParaRPr lang="en-US" sz="933" dirty="0">
              <a:solidFill>
                <a:srgbClr val="9F958F"/>
              </a:solidFill>
            </a:endParaRPr>
          </a:p>
        </p:txBody>
      </p:sp>
      <p:sp>
        <p:nvSpPr>
          <p:cNvPr id="9" name="Freeform 4"/>
          <p:cNvSpPr>
            <a:spLocks/>
          </p:cNvSpPr>
          <p:nvPr>
            <p:custDataLst>
              <p:tags r:id="rId16"/>
            </p:custDataLst>
          </p:nvPr>
        </p:nvSpPr>
        <p:spPr bwMode="auto">
          <a:xfrm>
            <a:off x="4" y="676403"/>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32751" tIns="66376" rIns="132751" bIns="66376" numCol="1" anchor="t" anchorCtr="0" compatLnSpc="1">
            <a:prstTxWarp prst="textNoShape">
              <a:avLst/>
            </a:prstTxWarp>
          </a:bodyPr>
          <a:lstStyle/>
          <a:p>
            <a:endParaRPr lang="fr-FR" sz="2533" dirty="0">
              <a:solidFill>
                <a:srgbClr val="00264A"/>
              </a:solidFill>
            </a:endParaRPr>
          </a:p>
        </p:txBody>
      </p:sp>
      <p:sp>
        <p:nvSpPr>
          <p:cNvPr id="12" name="Rectangle 11"/>
          <p:cNvSpPr>
            <a:spLocks noChangeArrowheads="1"/>
          </p:cNvSpPr>
          <p:nvPr>
            <p:custDataLst>
              <p:tags r:id="rId17"/>
            </p:custDataLst>
          </p:nvPr>
        </p:nvSpPr>
        <p:spPr bwMode="auto">
          <a:xfrm>
            <a:off x="6223230" y="6623407"/>
            <a:ext cx="2455979" cy="183503"/>
          </a:xfrm>
          <a:prstGeom prst="rect">
            <a:avLst/>
          </a:prstGeom>
          <a:noFill/>
          <a:ln w="19050">
            <a:noFill/>
            <a:miter lim="800000"/>
            <a:headEnd/>
            <a:tailEnd/>
          </a:ln>
          <a:effectLst/>
        </p:spPr>
        <p:txBody>
          <a:bodyPr wrap="square" lIns="47996" tIns="47996" rIns="47996" bIns="47996" anchor="b" anchorCtr="0">
            <a:noAutofit/>
          </a:bodyPr>
          <a:lstStyle/>
          <a:p>
            <a:pPr algn="r" defTabSz="1327227" eaLnBrk="0" hangingPunct="0">
              <a:lnSpc>
                <a:spcPct val="90000"/>
              </a:lnSpc>
              <a:spcBef>
                <a:spcPct val="10000"/>
              </a:spcBef>
              <a:defRPr/>
            </a:pPr>
            <a:r>
              <a:rPr lang="en-US" altLang="en-US" sz="800" dirty="0">
                <a:solidFill>
                  <a:srgbClr val="9F958F"/>
                </a:solidFill>
                <a:cs typeface="Helvetica Light"/>
              </a:rPr>
              <a:t>Copyright © Capgemini 2015. All Rights Reserved</a:t>
            </a:r>
          </a:p>
        </p:txBody>
      </p:sp>
      <p:sp>
        <p:nvSpPr>
          <p:cNvPr id="13" name="Rectangle 12"/>
          <p:cNvSpPr/>
          <p:nvPr>
            <p:custDataLst>
              <p:tags r:id="rId18"/>
            </p:custDataLst>
          </p:nvPr>
        </p:nvSpPr>
        <p:spPr>
          <a:xfrm>
            <a:off x="6911929" y="6427225"/>
            <a:ext cx="1767281" cy="195814"/>
          </a:xfrm>
          <a:prstGeom prst="rect">
            <a:avLst/>
          </a:prstGeom>
        </p:spPr>
        <p:txBody>
          <a:bodyPr wrap="none" lIns="47996" tIns="47996" rIns="47996" bIns="47996" anchor="b" anchorCtr="0">
            <a:noAutofit/>
          </a:bodyPr>
          <a:lstStyle/>
          <a:p>
            <a:pPr algn="r"/>
            <a:r>
              <a:rPr lang="en-US" sz="933" dirty="0">
                <a:solidFill>
                  <a:srgbClr val="9F958F"/>
                </a:solidFill>
              </a:rPr>
              <a:t>Presentation Title | Date</a:t>
            </a:r>
          </a:p>
        </p:txBody>
      </p:sp>
      <p:cxnSp>
        <p:nvCxnSpPr>
          <p:cNvPr id="15" name="Straight Connector 5"/>
          <p:cNvCxnSpPr/>
          <p:nvPr>
            <p:custDataLst>
              <p:tags r:id="rId19"/>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30"/>
            <a:ext cx="1438102" cy="344978"/>
          </a:xfrm>
          <a:prstGeom prst="rect">
            <a:avLst/>
          </a:prstGeom>
          <a:noFill/>
          <a:ln>
            <a:noFill/>
          </a:ln>
        </p:spPr>
      </p:pic>
    </p:spTree>
    <p:extLst>
      <p:ext uri="{BB962C8B-B14F-4D97-AF65-F5344CB8AC3E}">
        <p14:creationId xmlns:p14="http://schemas.microsoft.com/office/powerpoint/2010/main" val="3085900257"/>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Lst>
  <p:hf sldNum="0" hdr="0" dt="0"/>
  <p:txStyles>
    <p:titleStyle>
      <a:lvl1pPr marL="0" indent="0" algn="l" defTabSz="1219092" rtl="0" eaLnBrk="1" latinLnBrk="0" hangingPunct="1">
        <a:lnSpc>
          <a:spcPct val="85000"/>
        </a:lnSpc>
        <a:spcBef>
          <a:spcPct val="0"/>
        </a:spcBef>
        <a:buNone/>
        <a:defRPr sz="4267" b="0" kern="1200">
          <a:solidFill>
            <a:schemeClr val="tx1"/>
          </a:solidFill>
          <a:latin typeface="+mj-lt"/>
          <a:ea typeface="+mj-ea"/>
          <a:cs typeface="+mj-cs"/>
        </a:defRPr>
      </a:lvl1pPr>
    </p:titleStyle>
    <p:bodyStyle>
      <a:lvl1pPr marL="221580" indent="-221580" algn="l" defTabSz="1219092" rtl="0" eaLnBrk="1" latinLnBrk="0" hangingPunct="1">
        <a:lnSpc>
          <a:spcPct val="90000"/>
        </a:lnSpc>
        <a:spcBef>
          <a:spcPts val="0"/>
        </a:spcBef>
        <a:spcAft>
          <a:spcPts val="800"/>
        </a:spcAft>
        <a:buClr>
          <a:schemeClr val="accent5"/>
        </a:buClr>
        <a:buFont typeface="Wingdings" pitchFamily="2" charset="2"/>
        <a:buChar char="§"/>
        <a:defRPr sz="2933" b="0" kern="1200">
          <a:solidFill>
            <a:schemeClr val="bg2">
              <a:lumMod val="50000"/>
            </a:schemeClr>
          </a:solidFill>
          <a:latin typeface="+mn-lt"/>
          <a:ea typeface="+mn-ea"/>
          <a:cs typeface="+mn-cs"/>
        </a:defRPr>
      </a:lvl1pPr>
      <a:lvl2pPr marL="474121" indent="-241294" algn="l" defTabSz="1219092" rtl="0" eaLnBrk="1" latinLnBrk="0" hangingPunct="1">
        <a:lnSpc>
          <a:spcPct val="90000"/>
        </a:lnSpc>
        <a:spcBef>
          <a:spcPts val="0"/>
        </a:spcBef>
        <a:spcAft>
          <a:spcPts val="800"/>
        </a:spcAft>
        <a:buClr>
          <a:schemeClr val="accent3"/>
        </a:buClr>
        <a:buFont typeface="Wingdings" pitchFamily="2" charset="2"/>
        <a:buChar char="§"/>
        <a:defRPr sz="2400" kern="1200">
          <a:solidFill>
            <a:schemeClr val="bg2">
              <a:lumMod val="50000"/>
            </a:schemeClr>
          </a:solidFill>
          <a:latin typeface="+mn-lt"/>
          <a:ea typeface="+mn-ea"/>
          <a:cs typeface="+mn-cs"/>
        </a:defRPr>
      </a:lvl2pPr>
      <a:lvl3pPr marL="715415" indent="-220128" algn="l" defTabSz="1219092" rtl="0" eaLnBrk="1" latinLnBrk="0" hangingPunct="1">
        <a:lnSpc>
          <a:spcPct val="90000"/>
        </a:lnSpc>
        <a:spcBef>
          <a:spcPts val="0"/>
        </a:spcBef>
        <a:spcAft>
          <a:spcPts val="800"/>
        </a:spcAft>
        <a:buClr>
          <a:schemeClr val="accent2"/>
        </a:buClr>
        <a:buFont typeface="Arial" pitchFamily="34" charset="0"/>
        <a:buChar char="•"/>
        <a:tabLst/>
        <a:defRPr sz="2133" kern="1200">
          <a:solidFill>
            <a:schemeClr val="bg2">
              <a:lumMod val="50000"/>
            </a:schemeClr>
          </a:solidFill>
          <a:latin typeface="+mn-lt"/>
          <a:ea typeface="+mn-ea"/>
          <a:cs typeface="+mn-cs"/>
        </a:defRPr>
      </a:lvl3pPr>
      <a:lvl4pPr marL="948243" indent="-220128" algn="l" defTabSz="1219092" rtl="0" eaLnBrk="1" latinLnBrk="0" hangingPunct="1">
        <a:lnSpc>
          <a:spcPct val="90000"/>
        </a:lnSpc>
        <a:spcBef>
          <a:spcPts val="0"/>
        </a:spcBef>
        <a:spcAft>
          <a:spcPts val="800"/>
        </a:spcAft>
        <a:buClr>
          <a:schemeClr val="bg2"/>
        </a:buClr>
        <a:buFont typeface="Arial" pitchFamily="34" charset="0"/>
        <a:buChar char="–"/>
        <a:tabLst/>
        <a:defRPr sz="1867" kern="1200">
          <a:solidFill>
            <a:schemeClr val="bg2">
              <a:lumMod val="50000"/>
            </a:schemeClr>
          </a:solidFill>
          <a:latin typeface="+mn-lt"/>
          <a:ea typeface="+mn-ea"/>
          <a:cs typeface="+mn-cs"/>
        </a:defRPr>
      </a:lvl4pPr>
      <a:lvl5pPr marL="2146112" indent="-258211" algn="l" defTabSz="1219092" rtl="0" eaLnBrk="1" latinLnBrk="0" hangingPunct="1">
        <a:spcBef>
          <a:spcPts val="0"/>
        </a:spcBef>
        <a:buClr>
          <a:srgbClr val="B1B1B1"/>
        </a:buClr>
        <a:buFont typeface="Arial" pitchFamily="34" charset="0"/>
        <a:buChar char="–"/>
        <a:defRPr sz="2267" kern="1200">
          <a:solidFill>
            <a:srgbClr val="494949"/>
          </a:solidFill>
          <a:latin typeface="+mn-lt"/>
          <a:ea typeface="+mn-ea"/>
          <a:cs typeface="+mn-cs"/>
        </a:defRPr>
      </a:lvl5pPr>
      <a:lvl6pPr marL="3352504"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50"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96"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142"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92" rtl="0" eaLnBrk="1" latinLnBrk="0" hangingPunct="1">
        <a:defRPr sz="2400" kern="1200">
          <a:solidFill>
            <a:schemeClr val="tx1"/>
          </a:solidFill>
          <a:latin typeface="+mn-lt"/>
          <a:ea typeface="+mn-ea"/>
          <a:cs typeface="+mn-cs"/>
        </a:defRPr>
      </a:lvl1pPr>
      <a:lvl2pPr marL="609546" algn="l" defTabSz="1219092" rtl="0" eaLnBrk="1" latinLnBrk="0" hangingPunct="1">
        <a:defRPr sz="2400" kern="1200">
          <a:solidFill>
            <a:schemeClr val="tx1"/>
          </a:solidFill>
          <a:latin typeface="+mn-lt"/>
          <a:ea typeface="+mn-ea"/>
          <a:cs typeface="+mn-cs"/>
        </a:defRPr>
      </a:lvl2pPr>
      <a:lvl3pPr marL="1219092" algn="l" defTabSz="1219092" rtl="0" eaLnBrk="1" latinLnBrk="0" hangingPunct="1">
        <a:defRPr sz="2400" kern="1200">
          <a:solidFill>
            <a:schemeClr val="tx1"/>
          </a:solidFill>
          <a:latin typeface="+mn-lt"/>
          <a:ea typeface="+mn-ea"/>
          <a:cs typeface="+mn-cs"/>
        </a:defRPr>
      </a:lvl3pPr>
      <a:lvl4pPr marL="1828638" algn="l" defTabSz="1219092" rtl="0" eaLnBrk="1" latinLnBrk="0" hangingPunct="1">
        <a:defRPr sz="2400" kern="1200">
          <a:solidFill>
            <a:schemeClr val="tx1"/>
          </a:solidFill>
          <a:latin typeface="+mn-lt"/>
          <a:ea typeface="+mn-ea"/>
          <a:cs typeface="+mn-cs"/>
        </a:defRPr>
      </a:lvl4pPr>
      <a:lvl5pPr marL="2438184" algn="l" defTabSz="1219092" rtl="0" eaLnBrk="1" latinLnBrk="0" hangingPunct="1">
        <a:defRPr sz="2400" kern="1200">
          <a:solidFill>
            <a:schemeClr val="tx1"/>
          </a:solidFill>
          <a:latin typeface="+mn-lt"/>
          <a:ea typeface="+mn-ea"/>
          <a:cs typeface="+mn-cs"/>
        </a:defRPr>
      </a:lvl5pPr>
      <a:lvl6pPr marL="3047730" algn="l" defTabSz="1219092" rtl="0" eaLnBrk="1" latinLnBrk="0" hangingPunct="1">
        <a:defRPr sz="2400" kern="1200">
          <a:solidFill>
            <a:schemeClr val="tx1"/>
          </a:solidFill>
          <a:latin typeface="+mn-lt"/>
          <a:ea typeface="+mn-ea"/>
          <a:cs typeface="+mn-cs"/>
        </a:defRPr>
      </a:lvl6pPr>
      <a:lvl7pPr marL="3657277" algn="l" defTabSz="1219092" rtl="0" eaLnBrk="1" latinLnBrk="0" hangingPunct="1">
        <a:defRPr sz="2400" kern="1200">
          <a:solidFill>
            <a:schemeClr val="tx1"/>
          </a:solidFill>
          <a:latin typeface="+mn-lt"/>
          <a:ea typeface="+mn-ea"/>
          <a:cs typeface="+mn-cs"/>
        </a:defRPr>
      </a:lvl7pPr>
      <a:lvl8pPr marL="4266824" algn="l" defTabSz="1219092" rtl="0" eaLnBrk="1" latinLnBrk="0" hangingPunct="1">
        <a:defRPr sz="2400" kern="1200">
          <a:solidFill>
            <a:schemeClr val="tx1"/>
          </a:solidFill>
          <a:latin typeface="+mn-lt"/>
          <a:ea typeface="+mn-ea"/>
          <a:cs typeface="+mn-cs"/>
        </a:defRPr>
      </a:lvl8pPr>
      <a:lvl9pPr marL="4876370" algn="l" defTabSz="1219092"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hyperlink" Target="https://devcloud.swcoe.ge.com/devspace/pages/viewpage.action?pageId=1111972029"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dev-power.api.ge.com:8910/apis/#/home/login" TargetMode="External"/><Relationship Id="rId1" Type="http://schemas.openxmlformats.org/officeDocument/2006/relationships/slideLayout" Target="../slideLayouts/slideLayout8.xml"/><Relationship Id="rId4" Type="http://schemas.openxmlformats.org/officeDocument/2006/relationships/hyperlink" Target="https://devcloud.swcoe.ge.com/devspace/pages/viewpage.action?spaceKey=QRSJX&amp;title=Akana+Self+Service"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wmesbqa.cloud.ge.com:10603/ws/GE_SFDC_PW_AccountSiteUnit_Services.WebServices.Provider:processAccountSiteUnit_WSD?WSDL" TargetMode="External"/><Relationship Id="rId2" Type="http://schemas.openxmlformats.org/officeDocument/2006/relationships/hyperlink" Target="http://wmesbqa.cloud.ge.com:10603/ws/GE_SFDC_PW_AccountSiteUnit_Services.WebServices.Provider:processAccountSiteUnit_WSD" TargetMode="Externa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dev.api.ge.com/power/ngcp/getsfdcassetdata"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181932" y="238194"/>
            <a:ext cx="8085562" cy="639762"/>
          </a:xfrm>
        </p:spPr>
        <p:txBody>
          <a:bodyPr>
            <a:noAutofit/>
          </a:bodyPr>
          <a:lstStyle/>
          <a:p>
            <a:pPr eaLnBrk="0" hangingPunct="0">
              <a:lnSpc>
                <a:spcPts val="2800"/>
              </a:lnSpc>
            </a:pPr>
            <a:r>
              <a:rPr lang="en-US" sz="2500" dirty="0">
                <a:cs typeface="Arial" pitchFamily="34" charset="0"/>
              </a:rPr>
              <a:t>	Configuring SOAP Web Service with </a:t>
            </a:r>
            <a:r>
              <a:rPr lang="en-US" sz="2500" dirty="0" err="1">
                <a:cs typeface="Arial" pitchFamily="34" charset="0"/>
              </a:rPr>
              <a:t>Akana</a:t>
            </a:r>
            <a:endParaRPr lang="en-US" sz="2500" dirty="0">
              <a:cs typeface="Arial" pitchFamily="34" charset="0"/>
            </a:endParaRPr>
          </a:p>
        </p:txBody>
      </p:sp>
      <p:sp>
        <p:nvSpPr>
          <p:cNvPr id="27" name="Rectangle 6"/>
          <p:cNvSpPr>
            <a:spLocks noChangeArrowheads="1"/>
          </p:cNvSpPr>
          <p:nvPr/>
        </p:nvSpPr>
        <p:spPr bwMode="auto">
          <a:xfrm>
            <a:off x="4558747" y="4081669"/>
            <a:ext cx="4081671" cy="927654"/>
          </a:xfrm>
          <a:prstGeom prst="rect">
            <a:avLst/>
          </a:prstGeom>
          <a:noFill/>
          <a:ln w="9525">
            <a:noFill/>
            <a:miter lim="800000"/>
            <a:headEnd/>
            <a:tailEnd/>
          </a:ln>
        </p:spPr>
        <p:txBody>
          <a:bodyPr/>
          <a:lstStyle/>
          <a:p>
            <a:pPr marL="284163" indent="-284163">
              <a:spcBef>
                <a:spcPct val="50000"/>
              </a:spcBef>
              <a:buClr>
                <a:srgbClr val="FF9933"/>
              </a:buClr>
              <a:buSzPct val="90000"/>
              <a:buFont typeface="Wingdings" pitchFamily="2" charset="2"/>
              <a:buNone/>
            </a:pPr>
            <a:r>
              <a:rPr lang="en-US" altLang="ja-JP" sz="2000" b="1" dirty="0">
                <a:latin typeface="Candara" panose="020E0502030303020204" pitchFamily="34" charset="0"/>
                <a:ea typeface="MS PGothic" pitchFamily="34" charset="-128"/>
              </a:rPr>
              <a:t>Prepared by </a:t>
            </a:r>
          </a:p>
          <a:p>
            <a:pPr marL="284163" indent="-284163">
              <a:spcBef>
                <a:spcPct val="50000"/>
              </a:spcBef>
              <a:buClr>
                <a:srgbClr val="FF9933"/>
              </a:buClr>
              <a:buSzPct val="90000"/>
              <a:buFont typeface="Wingdings" pitchFamily="2" charset="2"/>
              <a:buNone/>
            </a:pPr>
            <a:r>
              <a:rPr lang="en-US" altLang="ja-JP" sz="2000" b="1" dirty="0">
                <a:latin typeface="Candara" panose="020E0502030303020204" pitchFamily="34" charset="0"/>
                <a:ea typeface="MS PGothic" pitchFamily="34" charset="-128"/>
              </a:rPr>
              <a:t>	T S Karthikeyan</a:t>
            </a:r>
          </a:p>
        </p:txBody>
      </p:sp>
    </p:spTree>
    <p:extLst>
      <p:ext uri="{BB962C8B-B14F-4D97-AF65-F5344CB8AC3E}">
        <p14:creationId xmlns:p14="http://schemas.microsoft.com/office/powerpoint/2010/main" val="544895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1000" fill="hold"/>
                                        <p:tgtEl>
                                          <p:spTgt spid="23"/>
                                        </p:tgtEl>
                                        <p:attrNameLst>
                                          <p:attrName>ppt_w</p:attrName>
                                        </p:attrNameLst>
                                      </p:cBhvr>
                                      <p:tavLst>
                                        <p:tav tm="0">
                                          <p:val>
                                            <p:fltVal val="0"/>
                                          </p:val>
                                        </p:tav>
                                        <p:tav tm="100000">
                                          <p:val>
                                            <p:strVal val="#ppt_w"/>
                                          </p:val>
                                        </p:tav>
                                      </p:tavLst>
                                    </p:anim>
                                    <p:anim calcmode="lin" valueType="num">
                                      <p:cBhvr>
                                        <p:cTn id="8" dur="1000" fill="hold"/>
                                        <p:tgtEl>
                                          <p:spTgt spid="23"/>
                                        </p:tgtEl>
                                        <p:attrNameLst>
                                          <p:attrName>ppt_h</p:attrName>
                                        </p:attrNameLst>
                                      </p:cBhvr>
                                      <p:tavLst>
                                        <p:tav tm="0">
                                          <p:val>
                                            <p:fltVal val="0"/>
                                          </p:val>
                                        </p:tav>
                                        <p:tav tm="100000">
                                          <p:val>
                                            <p:strVal val="#ppt_h"/>
                                          </p:val>
                                        </p:tav>
                                      </p:tavLst>
                                    </p:anim>
                                    <p:anim calcmode="lin" valueType="num">
                                      <p:cBhvr>
                                        <p:cTn id="9" dur="1000" fill="hold"/>
                                        <p:tgtEl>
                                          <p:spTgt spid="23"/>
                                        </p:tgtEl>
                                        <p:attrNameLst>
                                          <p:attrName>style.rotation</p:attrName>
                                        </p:attrNameLst>
                                      </p:cBhvr>
                                      <p:tavLst>
                                        <p:tav tm="0">
                                          <p:val>
                                            <p:fltVal val="90"/>
                                          </p:val>
                                        </p:tav>
                                        <p:tav tm="100000">
                                          <p:val>
                                            <p:fltVal val="0"/>
                                          </p:val>
                                        </p:tav>
                                      </p:tavLst>
                                    </p:anim>
                                    <p:animEffect transition="in" filter="fade">
                                      <p:cBhvr>
                                        <p:cTn id="10"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73" y="225289"/>
            <a:ext cx="8326714" cy="675860"/>
          </a:xfrm>
        </p:spPr>
        <p:txBody>
          <a:bodyPr/>
          <a:lstStyle/>
          <a:p>
            <a:r>
              <a:rPr lang="en-US" dirty="0"/>
              <a:t>Steps Continued…</a:t>
            </a:r>
          </a:p>
        </p:txBody>
      </p:sp>
      <p:sp>
        <p:nvSpPr>
          <p:cNvPr id="4" name="TextBox 3">
            <a:extLst>
              <a:ext uri="{FF2B5EF4-FFF2-40B4-BE49-F238E27FC236}">
                <a16:creationId xmlns:a16="http://schemas.microsoft.com/office/drawing/2014/main" id="{69EF8AEE-3853-4C57-B1B7-B22432778FA8}"/>
              </a:ext>
            </a:extLst>
          </p:cNvPr>
          <p:cNvSpPr txBox="1"/>
          <p:nvPr/>
        </p:nvSpPr>
        <p:spPr>
          <a:xfrm>
            <a:off x="145773" y="1457739"/>
            <a:ext cx="8852453" cy="1600438"/>
          </a:xfrm>
          <a:prstGeom prst="rect">
            <a:avLst/>
          </a:prstGeom>
          <a:noFill/>
        </p:spPr>
        <p:txBody>
          <a:bodyPr wrap="square" rtlCol="0">
            <a:spAutoFit/>
          </a:bodyPr>
          <a:lstStyle/>
          <a:p>
            <a:pPr lvl="0"/>
            <a:r>
              <a:rPr lang="en-US" sz="1400" dirty="0"/>
              <a:t>9. Now the new WSDL which is created thru </a:t>
            </a:r>
            <a:r>
              <a:rPr lang="en-US" sz="1400" dirty="0" err="1"/>
              <a:t>Akana</a:t>
            </a:r>
            <a:r>
              <a:rPr lang="en-US" sz="1400" dirty="0"/>
              <a:t> can also be used to generate the stub classes and make it as a Jar file. This Jar file can be placed in the Class Path or  you can save it in the local repo and add the dependency in case of Maven. Once the Stub classes and Jar created, while configuring the </a:t>
            </a:r>
            <a:r>
              <a:rPr lang="en-US" sz="1400" b="1" dirty="0" err="1"/>
              <a:t>targetNamespace</a:t>
            </a:r>
            <a:r>
              <a:rPr lang="en-US" sz="1400" dirty="0"/>
              <a:t>, </a:t>
            </a:r>
            <a:r>
              <a:rPr lang="en-US" sz="1400" b="1" dirty="0"/>
              <a:t>service</a:t>
            </a:r>
            <a:r>
              <a:rPr lang="en-US" sz="1400" dirty="0"/>
              <a:t>, </a:t>
            </a:r>
            <a:r>
              <a:rPr lang="en-US" sz="1400" b="1" dirty="0"/>
              <a:t>port</a:t>
            </a:r>
            <a:r>
              <a:rPr lang="en-US" sz="1400" dirty="0"/>
              <a:t>.</a:t>
            </a:r>
          </a:p>
          <a:p>
            <a:pPr lvl="0"/>
            <a:endParaRPr lang="en-US" sz="1400" dirty="0"/>
          </a:p>
          <a:p>
            <a:pPr lvl="0"/>
            <a:r>
              <a:rPr lang="en-US" sz="1400" dirty="0"/>
              <a:t>10. In the client code, while connecting to the web service, these values from the WSDL created from </a:t>
            </a:r>
            <a:r>
              <a:rPr lang="en-US" sz="1400" dirty="0" err="1"/>
              <a:t>Akana</a:t>
            </a:r>
            <a:r>
              <a:rPr lang="en-US" sz="1400" dirty="0"/>
              <a:t> can be used to connect and call the required methods using the stub classes.</a:t>
            </a:r>
          </a:p>
        </p:txBody>
      </p:sp>
    </p:spTree>
    <p:extLst>
      <p:ext uri="{BB962C8B-B14F-4D97-AF65-F5344CB8AC3E}">
        <p14:creationId xmlns:p14="http://schemas.microsoft.com/office/powerpoint/2010/main" val="3749098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45773" y="225289"/>
            <a:ext cx="8326714" cy="675860"/>
          </a:xfrm>
        </p:spPr>
        <p:txBody>
          <a:bodyPr/>
          <a:lstStyle/>
          <a:p>
            <a:r>
              <a:rPr lang="en-US" dirty="0"/>
              <a:t>Sample Java Client Code</a:t>
            </a:r>
          </a:p>
        </p:txBody>
      </p:sp>
      <p:sp>
        <p:nvSpPr>
          <p:cNvPr id="2" name="TextBox 1">
            <a:extLst>
              <a:ext uri="{FF2B5EF4-FFF2-40B4-BE49-F238E27FC236}">
                <a16:creationId xmlns:a16="http://schemas.microsoft.com/office/drawing/2014/main" id="{56C612C1-DB3C-41C4-A5C3-D5936FE3E7D2}"/>
              </a:ext>
            </a:extLst>
          </p:cNvPr>
          <p:cNvSpPr txBox="1"/>
          <p:nvPr/>
        </p:nvSpPr>
        <p:spPr>
          <a:xfrm>
            <a:off x="145773" y="1457739"/>
            <a:ext cx="8865705" cy="4401205"/>
          </a:xfrm>
          <a:prstGeom prst="rect">
            <a:avLst/>
          </a:prstGeom>
          <a:noFill/>
        </p:spPr>
        <p:txBody>
          <a:bodyPr wrap="square" rtlCol="0">
            <a:spAutoFit/>
          </a:bodyPr>
          <a:lstStyle/>
          <a:p>
            <a:r>
              <a:rPr lang="en-US" sz="1400" i="1" dirty="0">
                <a:solidFill>
                  <a:srgbClr val="000000"/>
                </a:solidFill>
              </a:rPr>
              <a:t>String </a:t>
            </a:r>
            <a:r>
              <a:rPr lang="en-US" sz="1400" i="1" dirty="0" err="1">
                <a:solidFill>
                  <a:srgbClr val="000000"/>
                </a:solidFill>
              </a:rPr>
              <a:t>wsdlLocation</a:t>
            </a:r>
            <a:r>
              <a:rPr lang="en-US" sz="1400" i="1" dirty="0">
                <a:solidFill>
                  <a:srgbClr val="000000"/>
                </a:solidFill>
              </a:rPr>
              <a:t> = "https://dev.api.ge.com/power/</a:t>
            </a:r>
            <a:r>
              <a:rPr lang="en-US" sz="1400" i="1" dirty="0" err="1">
                <a:solidFill>
                  <a:srgbClr val="000000"/>
                </a:solidFill>
              </a:rPr>
              <a:t>ngcp</a:t>
            </a:r>
            <a:r>
              <a:rPr lang="en-US" sz="1400" i="1" dirty="0">
                <a:solidFill>
                  <a:srgbClr val="000000"/>
                </a:solidFill>
              </a:rPr>
              <a:t>/</a:t>
            </a:r>
            <a:r>
              <a:rPr lang="en-US" sz="1400" i="1" dirty="0" err="1">
                <a:solidFill>
                  <a:srgbClr val="000000"/>
                </a:solidFill>
              </a:rPr>
              <a:t>getsfdcassetdata</a:t>
            </a:r>
            <a:r>
              <a:rPr lang="en-US" sz="1400" i="1" dirty="0">
                <a:solidFill>
                  <a:srgbClr val="000000"/>
                </a:solidFill>
              </a:rPr>
              <a:t>" + "?WSDL";</a:t>
            </a:r>
          </a:p>
          <a:p>
            <a:endParaRPr lang="en-US" sz="1400" i="1" dirty="0">
              <a:solidFill>
                <a:srgbClr val="000000"/>
              </a:solidFill>
            </a:endParaRPr>
          </a:p>
          <a:p>
            <a:r>
              <a:rPr lang="en-US" sz="1400" i="1" dirty="0" err="1">
                <a:solidFill>
                  <a:srgbClr val="000000"/>
                </a:solidFill>
              </a:rPr>
              <a:t>QName</a:t>
            </a:r>
            <a:r>
              <a:rPr lang="en-US" sz="1400" i="1" dirty="0">
                <a:solidFill>
                  <a:srgbClr val="000000"/>
                </a:solidFill>
              </a:rPr>
              <a:t> </a:t>
            </a:r>
            <a:r>
              <a:rPr lang="en-US" sz="1400" i="1" dirty="0" err="1">
                <a:solidFill>
                  <a:srgbClr val="000000"/>
                </a:solidFill>
              </a:rPr>
              <a:t>serviceName</a:t>
            </a:r>
            <a:r>
              <a:rPr lang="en-US" sz="1400" i="1" dirty="0">
                <a:solidFill>
                  <a:srgbClr val="000000"/>
                </a:solidFill>
              </a:rPr>
              <a:t> = </a:t>
            </a:r>
            <a:r>
              <a:rPr lang="en-US" sz="1400" b="1" i="1" dirty="0">
                <a:solidFill>
                  <a:srgbClr val="000000"/>
                </a:solidFill>
              </a:rPr>
              <a:t>new</a:t>
            </a:r>
            <a:r>
              <a:rPr lang="en-US" sz="1400" i="1" dirty="0">
                <a:solidFill>
                  <a:srgbClr val="000000"/>
                </a:solidFill>
              </a:rPr>
              <a:t> </a:t>
            </a:r>
            <a:r>
              <a:rPr lang="en-US" sz="1400" i="1" dirty="0" err="1">
                <a:solidFill>
                  <a:srgbClr val="000000"/>
                </a:solidFill>
              </a:rPr>
              <a:t>QName</a:t>
            </a:r>
            <a:r>
              <a:rPr lang="en-US" sz="1400" i="1" dirty="0">
                <a:solidFill>
                  <a:srgbClr val="000000"/>
                </a:solidFill>
                <a:highlight>
                  <a:srgbClr val="FFFF00"/>
                </a:highlight>
              </a:rPr>
              <a:t>("</a:t>
            </a:r>
            <a:r>
              <a:rPr lang="en-US" sz="1400" i="1" dirty="0" err="1">
                <a:solidFill>
                  <a:srgbClr val="000000"/>
                </a:solidFill>
                <a:highlight>
                  <a:srgbClr val="FFFF00"/>
                </a:highlight>
              </a:rPr>
              <a:t>uri:GEPower</a:t>
            </a:r>
            <a:r>
              <a:rPr lang="en-US" sz="1400" i="1" dirty="0">
                <a:solidFill>
                  <a:srgbClr val="000000"/>
                </a:solidFill>
                <a:highlight>
                  <a:srgbClr val="FFFF00"/>
                </a:highlight>
              </a:rPr>
              <a:t>", "svc_f4a493aa-2077-4a90-951d006488ae5a16.GEPower.sandbox.virtual"</a:t>
            </a:r>
            <a:r>
              <a:rPr lang="en-US" sz="1400" i="1" dirty="0">
                <a:solidFill>
                  <a:srgbClr val="000000"/>
                </a:solidFill>
              </a:rPr>
              <a:t>);</a:t>
            </a:r>
          </a:p>
          <a:p>
            <a:endParaRPr lang="en-US" sz="1400" i="1" dirty="0">
              <a:solidFill>
                <a:srgbClr val="000000"/>
              </a:solidFill>
            </a:endParaRPr>
          </a:p>
          <a:p>
            <a:r>
              <a:rPr lang="en-US" sz="1400" i="1" dirty="0">
                <a:solidFill>
                  <a:srgbClr val="000000"/>
                </a:solidFill>
              </a:rPr>
              <a:t>GESFDCPWAccountSiteUnitServicesWebServicesProviderProcessAccountSiteUnitWSD service = </a:t>
            </a:r>
            <a:r>
              <a:rPr lang="en-US" sz="1400" b="1" i="1" dirty="0">
                <a:solidFill>
                  <a:srgbClr val="000000"/>
                </a:solidFill>
              </a:rPr>
              <a:t>new</a:t>
            </a:r>
            <a:r>
              <a:rPr lang="en-US" sz="1400" i="1" dirty="0">
                <a:solidFill>
                  <a:srgbClr val="000000"/>
                </a:solidFill>
              </a:rPr>
              <a:t> GESFDCPWAccountSiteUnitServicesWebServicesProviderProcessAccountSiteUnitWSD( </a:t>
            </a:r>
            <a:r>
              <a:rPr lang="en-US" sz="1400" b="1" i="1" dirty="0">
                <a:solidFill>
                  <a:srgbClr val="000000"/>
                </a:solidFill>
              </a:rPr>
              <a:t>new</a:t>
            </a:r>
            <a:r>
              <a:rPr lang="en-US" sz="1400" i="1" dirty="0">
                <a:solidFill>
                  <a:srgbClr val="000000"/>
                </a:solidFill>
              </a:rPr>
              <a:t> URL(</a:t>
            </a:r>
            <a:r>
              <a:rPr lang="en-US" sz="1400" i="1" dirty="0" err="1">
                <a:solidFill>
                  <a:srgbClr val="000000"/>
                </a:solidFill>
              </a:rPr>
              <a:t>wsdlLocation</a:t>
            </a:r>
            <a:r>
              <a:rPr lang="en-US" sz="1400" i="1" dirty="0">
                <a:solidFill>
                  <a:srgbClr val="000000"/>
                </a:solidFill>
              </a:rPr>
              <a:t>), </a:t>
            </a:r>
            <a:r>
              <a:rPr lang="en-US" sz="1400" i="1" dirty="0" err="1">
                <a:solidFill>
                  <a:srgbClr val="000000"/>
                </a:solidFill>
              </a:rPr>
              <a:t>serviceName</a:t>
            </a:r>
            <a:r>
              <a:rPr lang="en-US" sz="1400" i="1" dirty="0">
                <a:solidFill>
                  <a:srgbClr val="000000"/>
                </a:solidFill>
              </a:rPr>
              <a:t>);</a:t>
            </a:r>
          </a:p>
          <a:p>
            <a:r>
              <a:rPr lang="en-US" sz="1400" i="1" dirty="0">
                <a:solidFill>
                  <a:srgbClr val="000000"/>
                </a:solidFill>
              </a:rPr>
              <a:t>            </a:t>
            </a:r>
          </a:p>
          <a:p>
            <a:r>
              <a:rPr lang="en-US" sz="1400" i="1" dirty="0" err="1">
                <a:solidFill>
                  <a:srgbClr val="000000"/>
                </a:solidFill>
              </a:rPr>
              <a:t>QName</a:t>
            </a:r>
            <a:r>
              <a:rPr lang="en-US" sz="1400" i="1" dirty="0">
                <a:solidFill>
                  <a:srgbClr val="000000"/>
                </a:solidFill>
              </a:rPr>
              <a:t> </a:t>
            </a:r>
            <a:r>
              <a:rPr lang="en-US" sz="1400" i="1" dirty="0" err="1">
                <a:solidFill>
                  <a:srgbClr val="000000"/>
                </a:solidFill>
              </a:rPr>
              <a:t>portName</a:t>
            </a:r>
            <a:r>
              <a:rPr lang="en-US" sz="1400" i="1" dirty="0">
                <a:solidFill>
                  <a:srgbClr val="000000"/>
                </a:solidFill>
              </a:rPr>
              <a:t> = </a:t>
            </a:r>
            <a:r>
              <a:rPr lang="en-US" sz="1400" b="1" i="1" dirty="0">
                <a:solidFill>
                  <a:srgbClr val="000000"/>
                </a:solidFill>
              </a:rPr>
              <a:t>new</a:t>
            </a:r>
            <a:r>
              <a:rPr lang="en-US" sz="1400" i="1" dirty="0">
                <a:solidFill>
                  <a:srgbClr val="000000"/>
                </a:solidFill>
              </a:rPr>
              <a:t> </a:t>
            </a:r>
            <a:r>
              <a:rPr lang="en-US" sz="1400" i="1" dirty="0" err="1">
                <a:solidFill>
                  <a:srgbClr val="000000"/>
                </a:solidFill>
              </a:rPr>
              <a:t>QName</a:t>
            </a:r>
            <a:r>
              <a:rPr lang="en-US" sz="1400" i="1" dirty="0">
                <a:solidFill>
                  <a:srgbClr val="000000"/>
                </a:solidFill>
                <a:highlight>
                  <a:srgbClr val="FFFF00"/>
                </a:highlight>
              </a:rPr>
              <a:t>("</a:t>
            </a:r>
            <a:r>
              <a:rPr lang="en-US" sz="1400" i="1" dirty="0" err="1">
                <a:solidFill>
                  <a:srgbClr val="000000"/>
                </a:solidFill>
                <a:highlight>
                  <a:srgbClr val="FFFF00"/>
                </a:highlight>
              </a:rPr>
              <a:t>uri:GEPower</a:t>
            </a:r>
            <a:r>
              <a:rPr lang="en-US" sz="1400" i="1" dirty="0">
                <a:solidFill>
                  <a:srgbClr val="000000"/>
                </a:solidFill>
                <a:highlight>
                  <a:srgbClr val="FFFF00"/>
                </a:highlight>
              </a:rPr>
              <a:t>", "svc_f4a493aa-2077-4a90-951d-006488ae5a16.GEPower.sandbox.binding.0_https");</a:t>
            </a:r>
          </a:p>
          <a:p>
            <a:r>
              <a:rPr lang="en-US" sz="1400" i="1" dirty="0" err="1">
                <a:solidFill>
                  <a:srgbClr val="000000"/>
                </a:solidFill>
              </a:rPr>
              <a:t>ProcessAccountSiteUnitWSDPortType</a:t>
            </a:r>
            <a:r>
              <a:rPr lang="en-US" sz="1400" i="1" dirty="0">
                <a:solidFill>
                  <a:srgbClr val="000000"/>
                </a:solidFill>
              </a:rPr>
              <a:t> type = </a:t>
            </a:r>
            <a:r>
              <a:rPr lang="en-US" sz="1400" i="1" u="sng" dirty="0" err="1">
                <a:solidFill>
                  <a:srgbClr val="000000"/>
                </a:solidFill>
              </a:rPr>
              <a:t>service.getPort</a:t>
            </a:r>
            <a:r>
              <a:rPr lang="en-US" sz="1400" i="1" u="sng" dirty="0">
                <a:solidFill>
                  <a:srgbClr val="000000"/>
                </a:solidFill>
              </a:rPr>
              <a:t>(</a:t>
            </a:r>
            <a:r>
              <a:rPr lang="en-US" sz="1400" i="1" u="sng" dirty="0" err="1">
                <a:solidFill>
                  <a:srgbClr val="000000"/>
                </a:solidFill>
              </a:rPr>
              <a:t>portName</a:t>
            </a:r>
            <a:r>
              <a:rPr lang="en-US" sz="1400" i="1" u="sng" dirty="0">
                <a:solidFill>
                  <a:srgbClr val="000000"/>
                </a:solidFill>
              </a:rPr>
              <a:t>, </a:t>
            </a:r>
            <a:r>
              <a:rPr lang="en-US" sz="1400" i="1" u="sng" dirty="0" err="1">
                <a:solidFill>
                  <a:srgbClr val="000000"/>
                </a:solidFill>
              </a:rPr>
              <a:t>ProcessAccountSiteUnitWSDPortType.</a:t>
            </a:r>
            <a:r>
              <a:rPr lang="en-US" sz="1400" b="1" i="1" u="sng" dirty="0" err="1">
                <a:solidFill>
                  <a:srgbClr val="000000"/>
                </a:solidFill>
              </a:rPr>
              <a:t>class</a:t>
            </a:r>
            <a:r>
              <a:rPr lang="en-US" sz="1400" i="1" u="sng" dirty="0">
                <a:solidFill>
                  <a:srgbClr val="000000"/>
                </a:solidFill>
              </a:rPr>
              <a:t>)</a:t>
            </a:r>
            <a:r>
              <a:rPr lang="en-US" sz="1400" i="1" dirty="0">
                <a:solidFill>
                  <a:srgbClr val="000000"/>
                </a:solidFill>
              </a:rPr>
              <a:t>;</a:t>
            </a:r>
          </a:p>
          <a:p>
            <a:endParaRPr lang="en-US" sz="1400" i="1" dirty="0">
              <a:solidFill>
                <a:srgbClr val="000000"/>
              </a:solidFill>
            </a:endParaRPr>
          </a:p>
          <a:p>
            <a:r>
              <a:rPr lang="en-US" sz="1400" i="1" u="sng" dirty="0" err="1">
                <a:solidFill>
                  <a:srgbClr val="000000"/>
                </a:solidFill>
              </a:rPr>
              <a:t>BindingProvider</a:t>
            </a:r>
            <a:r>
              <a:rPr lang="en-US" sz="1400" i="1" dirty="0">
                <a:solidFill>
                  <a:srgbClr val="000000"/>
                </a:solidFill>
              </a:rPr>
              <a:t> port = (</a:t>
            </a:r>
            <a:r>
              <a:rPr lang="en-US" sz="1400" i="1" u="sng" dirty="0" err="1">
                <a:solidFill>
                  <a:srgbClr val="000000"/>
                </a:solidFill>
              </a:rPr>
              <a:t>BindingProvider</a:t>
            </a:r>
            <a:r>
              <a:rPr lang="en-US" sz="1400" i="1" dirty="0">
                <a:solidFill>
                  <a:srgbClr val="000000"/>
                </a:solidFill>
              </a:rPr>
              <a:t>) type;</a:t>
            </a:r>
          </a:p>
          <a:p>
            <a:endParaRPr lang="en-US" sz="1400" i="1" dirty="0">
              <a:solidFill>
                <a:srgbClr val="000000"/>
              </a:solidFill>
            </a:endParaRPr>
          </a:p>
          <a:p>
            <a:r>
              <a:rPr lang="en-US" sz="1400" i="1" u="sng" dirty="0" err="1">
                <a:solidFill>
                  <a:srgbClr val="000000"/>
                </a:solidFill>
              </a:rPr>
              <a:t>port.getRequestContext</a:t>
            </a:r>
            <a:r>
              <a:rPr lang="en-US" sz="1400" i="1" u="sng" dirty="0">
                <a:solidFill>
                  <a:srgbClr val="000000"/>
                </a:solidFill>
              </a:rPr>
              <a:t>()</a:t>
            </a:r>
            <a:r>
              <a:rPr lang="en-US" sz="1400" i="1" dirty="0">
                <a:solidFill>
                  <a:srgbClr val="000000"/>
                </a:solidFill>
              </a:rPr>
              <a:t>.put(</a:t>
            </a:r>
            <a:r>
              <a:rPr lang="en-US" sz="1400" i="1" u="sng" dirty="0" err="1">
                <a:solidFill>
                  <a:srgbClr val="000000"/>
                </a:solidFill>
              </a:rPr>
              <a:t>BindingProvider.</a:t>
            </a:r>
            <a:r>
              <a:rPr lang="en-US" sz="1400" b="1" i="1" u="sng" dirty="0" err="1">
                <a:solidFill>
                  <a:srgbClr val="000000"/>
                </a:solidFill>
              </a:rPr>
              <a:t>USERNAME_PROPERTY</a:t>
            </a:r>
            <a:r>
              <a:rPr lang="en-US" sz="1400" i="1" dirty="0">
                <a:solidFill>
                  <a:srgbClr val="000000"/>
                </a:solidFill>
              </a:rPr>
              <a:t>, "</a:t>
            </a:r>
            <a:r>
              <a:rPr lang="en-US" sz="1400" i="1" dirty="0" err="1">
                <a:solidFill>
                  <a:srgbClr val="000000"/>
                </a:solidFill>
              </a:rPr>
              <a:t>AccountSiteUnit_QA</a:t>
            </a:r>
            <a:r>
              <a:rPr lang="en-US" sz="1400" i="1" dirty="0">
                <a:solidFill>
                  <a:srgbClr val="000000"/>
                </a:solidFill>
              </a:rPr>
              <a:t>");</a:t>
            </a:r>
          </a:p>
          <a:p>
            <a:r>
              <a:rPr lang="en-US" sz="1400" i="1" u="sng" dirty="0" err="1">
                <a:solidFill>
                  <a:srgbClr val="000000"/>
                </a:solidFill>
              </a:rPr>
              <a:t>port.getRequestContext</a:t>
            </a:r>
            <a:r>
              <a:rPr lang="en-US" sz="1400" i="1" u="sng" dirty="0">
                <a:solidFill>
                  <a:srgbClr val="000000"/>
                </a:solidFill>
              </a:rPr>
              <a:t>()</a:t>
            </a:r>
            <a:r>
              <a:rPr lang="en-US" sz="1400" i="1" dirty="0">
                <a:solidFill>
                  <a:srgbClr val="000000"/>
                </a:solidFill>
              </a:rPr>
              <a:t>.put(</a:t>
            </a:r>
            <a:r>
              <a:rPr lang="en-US" sz="1400" i="1" u="sng" dirty="0" err="1">
                <a:solidFill>
                  <a:srgbClr val="000000"/>
                </a:solidFill>
              </a:rPr>
              <a:t>BindingProvider.</a:t>
            </a:r>
            <a:r>
              <a:rPr lang="en-US" sz="1400" b="1" i="1" u="sng" dirty="0" err="1">
                <a:solidFill>
                  <a:srgbClr val="000000"/>
                </a:solidFill>
              </a:rPr>
              <a:t>PASSWORD_PROPERTY</a:t>
            </a:r>
            <a:r>
              <a:rPr lang="en-US" sz="1400" i="1" dirty="0">
                <a:solidFill>
                  <a:srgbClr val="000000"/>
                </a:solidFill>
              </a:rPr>
              <a:t>, "</a:t>
            </a:r>
            <a:r>
              <a:rPr lang="en-US" sz="1400" i="1" dirty="0" err="1">
                <a:solidFill>
                  <a:srgbClr val="000000"/>
                </a:solidFill>
              </a:rPr>
              <a:t>AccountSiteUnit_QA</a:t>
            </a:r>
            <a:r>
              <a:rPr lang="en-US" sz="1400" i="1" dirty="0">
                <a:solidFill>
                  <a:srgbClr val="000000"/>
                </a:solidFill>
              </a:rPr>
              <a:t>");</a:t>
            </a:r>
          </a:p>
          <a:p>
            <a:r>
              <a:rPr lang="en-US" sz="1400" i="1" u="sng" dirty="0" err="1">
                <a:solidFill>
                  <a:srgbClr val="000000"/>
                </a:solidFill>
              </a:rPr>
              <a:t>port.getRequestContext</a:t>
            </a:r>
            <a:r>
              <a:rPr lang="en-US" sz="1400" i="1" u="sng" dirty="0">
                <a:solidFill>
                  <a:srgbClr val="000000"/>
                </a:solidFill>
              </a:rPr>
              <a:t>()</a:t>
            </a:r>
            <a:r>
              <a:rPr lang="en-US" sz="1400" i="1" dirty="0">
                <a:solidFill>
                  <a:srgbClr val="000000"/>
                </a:solidFill>
              </a:rPr>
              <a:t>.put(</a:t>
            </a:r>
            <a:r>
              <a:rPr lang="en-US" sz="1400" i="1" u="sng" dirty="0" err="1">
                <a:solidFill>
                  <a:srgbClr val="000000"/>
                </a:solidFill>
              </a:rPr>
              <a:t>BindingProvider.</a:t>
            </a:r>
            <a:r>
              <a:rPr lang="en-US" sz="1400" b="1" i="1" u="sng" dirty="0" err="1">
                <a:solidFill>
                  <a:srgbClr val="000000"/>
                </a:solidFill>
              </a:rPr>
              <a:t>ENDPOINT_ADDRESS_PROPERTY</a:t>
            </a:r>
            <a:r>
              <a:rPr lang="en-US" sz="1400" i="1" dirty="0">
                <a:solidFill>
                  <a:srgbClr val="000000"/>
                </a:solidFill>
              </a:rPr>
              <a:t>, "https://dev.api.ge.com/power/</a:t>
            </a:r>
            <a:r>
              <a:rPr lang="en-US" sz="1400" i="1" dirty="0" err="1">
                <a:solidFill>
                  <a:srgbClr val="000000"/>
                </a:solidFill>
              </a:rPr>
              <a:t>ngcp</a:t>
            </a:r>
            <a:r>
              <a:rPr lang="en-US" sz="1400" i="1" dirty="0">
                <a:solidFill>
                  <a:srgbClr val="000000"/>
                </a:solidFill>
              </a:rPr>
              <a:t>/</a:t>
            </a:r>
            <a:r>
              <a:rPr lang="en-US" sz="1400" i="1" dirty="0" err="1">
                <a:solidFill>
                  <a:srgbClr val="000000"/>
                </a:solidFill>
              </a:rPr>
              <a:t>getsfdcassetdata</a:t>
            </a:r>
            <a:r>
              <a:rPr lang="en-US" sz="1400" i="1" dirty="0">
                <a:solidFill>
                  <a:srgbClr val="000000"/>
                </a:solidFill>
              </a:rPr>
              <a:t>");</a:t>
            </a:r>
          </a:p>
        </p:txBody>
      </p:sp>
    </p:spTree>
    <p:extLst>
      <p:ext uri="{BB962C8B-B14F-4D97-AF65-F5344CB8AC3E}">
        <p14:creationId xmlns:p14="http://schemas.microsoft.com/office/powerpoint/2010/main" val="9606573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dirty="0"/>
              <a:t>Steps Continued</a:t>
            </a:r>
          </a:p>
        </p:txBody>
      </p:sp>
      <p:sp>
        <p:nvSpPr>
          <p:cNvPr id="3" name="TextBox 2"/>
          <p:cNvSpPr txBox="1"/>
          <p:nvPr/>
        </p:nvSpPr>
        <p:spPr>
          <a:xfrm>
            <a:off x="463828" y="1524000"/>
            <a:ext cx="8229598" cy="3323987"/>
          </a:xfrm>
          <a:prstGeom prst="rect">
            <a:avLst/>
          </a:prstGeom>
          <a:noFill/>
        </p:spPr>
        <p:txBody>
          <a:bodyPr wrap="square" rtlCol="0">
            <a:spAutoFit/>
          </a:bodyPr>
          <a:lstStyle/>
          <a:p>
            <a:endParaRPr lang="en-US" sz="1400" i="1" dirty="0">
              <a:solidFill>
                <a:srgbClr val="000000"/>
              </a:solidFill>
            </a:endParaRPr>
          </a:p>
          <a:p>
            <a:r>
              <a:rPr lang="en-US" sz="1400" i="1" u="sng" dirty="0" err="1">
                <a:solidFill>
                  <a:srgbClr val="000000"/>
                </a:solidFill>
              </a:rPr>
              <a:t>port.getRequestContext</a:t>
            </a:r>
            <a:r>
              <a:rPr lang="en-US" sz="1400" i="1" u="sng" dirty="0">
                <a:solidFill>
                  <a:srgbClr val="000000"/>
                </a:solidFill>
              </a:rPr>
              <a:t>()</a:t>
            </a:r>
            <a:r>
              <a:rPr lang="en-US" sz="1400" i="1" dirty="0">
                <a:solidFill>
                  <a:srgbClr val="000000"/>
                </a:solidFill>
              </a:rPr>
              <a:t>.put("</a:t>
            </a:r>
            <a:r>
              <a:rPr lang="en-US" sz="1400" i="1" dirty="0" err="1">
                <a:solidFill>
                  <a:srgbClr val="000000"/>
                </a:solidFill>
              </a:rPr>
              <a:t>com.sun.xml.internal.ws.request.timeout</a:t>
            </a:r>
            <a:r>
              <a:rPr lang="en-US" sz="1400" i="1" dirty="0">
                <a:solidFill>
                  <a:srgbClr val="000000"/>
                </a:solidFill>
              </a:rPr>
              <a:t>", 30000);</a:t>
            </a:r>
          </a:p>
          <a:p>
            <a:endParaRPr lang="en-US" sz="1400" i="1" dirty="0">
              <a:solidFill>
                <a:srgbClr val="000000"/>
              </a:solidFill>
            </a:endParaRPr>
          </a:p>
          <a:p>
            <a:r>
              <a:rPr lang="en-US" sz="1400" i="1" u="sng" dirty="0" err="1">
                <a:solidFill>
                  <a:srgbClr val="000000"/>
                </a:solidFill>
              </a:rPr>
              <a:t>port.getBinding</a:t>
            </a:r>
            <a:r>
              <a:rPr lang="en-US" sz="1400" i="1" u="sng" dirty="0">
                <a:solidFill>
                  <a:srgbClr val="000000"/>
                </a:solidFill>
              </a:rPr>
              <a:t>().</a:t>
            </a:r>
            <a:r>
              <a:rPr lang="en-US" sz="1400" i="1" u="sng" dirty="0" err="1">
                <a:solidFill>
                  <a:srgbClr val="000000"/>
                </a:solidFill>
              </a:rPr>
              <a:t>getHandlerChain</a:t>
            </a:r>
            <a:r>
              <a:rPr lang="en-US" sz="1400" i="1" u="sng" dirty="0">
                <a:solidFill>
                  <a:srgbClr val="000000"/>
                </a:solidFill>
              </a:rPr>
              <a:t>()</a:t>
            </a:r>
            <a:r>
              <a:rPr lang="en-US" sz="1400" i="1" dirty="0">
                <a:solidFill>
                  <a:srgbClr val="000000"/>
                </a:solidFill>
              </a:rPr>
              <a:t>.add(</a:t>
            </a:r>
            <a:r>
              <a:rPr lang="en-US" sz="1400" b="1" i="1" dirty="0">
                <a:solidFill>
                  <a:srgbClr val="000000"/>
                </a:solidFill>
              </a:rPr>
              <a:t>new</a:t>
            </a:r>
            <a:r>
              <a:rPr lang="en-US" sz="1400" i="1" dirty="0">
                <a:solidFill>
                  <a:srgbClr val="000000"/>
                </a:solidFill>
              </a:rPr>
              <a:t> </a:t>
            </a:r>
            <a:r>
              <a:rPr lang="en-US" sz="1400" i="1" dirty="0" err="1">
                <a:solidFill>
                  <a:srgbClr val="000000"/>
                </a:solidFill>
              </a:rPr>
              <a:t>SoapLogginHandler</a:t>
            </a:r>
            <a:r>
              <a:rPr lang="en-US" sz="1400" i="1" dirty="0">
                <a:solidFill>
                  <a:srgbClr val="000000"/>
                </a:solidFill>
              </a:rPr>
              <a:t>());</a:t>
            </a:r>
          </a:p>
          <a:p>
            <a:endParaRPr lang="en-US" sz="1400" i="1" dirty="0">
              <a:solidFill>
                <a:srgbClr val="000000"/>
              </a:solidFill>
            </a:endParaRPr>
          </a:p>
          <a:p>
            <a:r>
              <a:rPr lang="en-US" sz="1400" i="1" dirty="0">
                <a:solidFill>
                  <a:srgbClr val="000000"/>
                </a:solidFill>
              </a:rPr>
              <a:t>com.ge.cloud.pwnlvwm97t03.ge_sfdc_pw_accountsiteunit_services_webservices_provider.processaccountsiteunit_wsd.ObjectFactory </a:t>
            </a:r>
            <a:r>
              <a:rPr lang="en-US" sz="1400" i="1" dirty="0" err="1">
                <a:solidFill>
                  <a:srgbClr val="000000"/>
                </a:solidFill>
              </a:rPr>
              <a:t>objectFactory</a:t>
            </a:r>
            <a:r>
              <a:rPr lang="en-US" sz="1400" i="1" dirty="0">
                <a:solidFill>
                  <a:srgbClr val="000000"/>
                </a:solidFill>
              </a:rPr>
              <a:t> = </a:t>
            </a:r>
            <a:r>
              <a:rPr lang="en-US" sz="1400" b="1" i="1" dirty="0">
                <a:solidFill>
                  <a:srgbClr val="000000"/>
                </a:solidFill>
              </a:rPr>
              <a:t>new</a:t>
            </a:r>
            <a:r>
              <a:rPr lang="en-US" sz="1400" i="1" dirty="0">
                <a:solidFill>
                  <a:srgbClr val="000000"/>
                </a:solidFill>
              </a:rPr>
              <a:t> com.ge.cloud.pwnlvwm97t03.ge_sfdc_pw_accountsiteunit_services_webservices_provider.processaccountsiteunit_wsd.ObjectFactory();</a:t>
            </a:r>
          </a:p>
          <a:p>
            <a:r>
              <a:rPr lang="en-US" sz="1400" i="1" dirty="0" err="1">
                <a:solidFill>
                  <a:srgbClr val="000000"/>
                </a:solidFill>
              </a:rPr>
              <a:t>AccountSiteUnitRequest</a:t>
            </a:r>
            <a:r>
              <a:rPr lang="en-US" sz="1400" i="1" dirty="0">
                <a:solidFill>
                  <a:srgbClr val="000000"/>
                </a:solidFill>
              </a:rPr>
              <a:t> request = </a:t>
            </a:r>
            <a:r>
              <a:rPr lang="en-US" sz="1400" i="1" dirty="0" err="1">
                <a:solidFill>
                  <a:srgbClr val="000000"/>
                </a:solidFill>
              </a:rPr>
              <a:t>objectFactory.createAccountSiteUnitRequest</a:t>
            </a:r>
            <a:r>
              <a:rPr lang="en-US" sz="1400" i="1" dirty="0">
                <a:solidFill>
                  <a:srgbClr val="000000"/>
                </a:solidFill>
              </a:rPr>
              <a:t>();</a:t>
            </a:r>
          </a:p>
          <a:p>
            <a:r>
              <a:rPr lang="en-US" sz="1400" i="1" dirty="0">
                <a:solidFill>
                  <a:srgbClr val="000000"/>
                </a:solidFill>
              </a:rPr>
              <a:t>               </a:t>
            </a:r>
          </a:p>
          <a:p>
            <a:r>
              <a:rPr lang="en-US" sz="1400" i="1" dirty="0" err="1">
                <a:solidFill>
                  <a:srgbClr val="000000"/>
                </a:solidFill>
              </a:rPr>
              <a:t>request.setContactSSO</a:t>
            </a:r>
            <a:r>
              <a:rPr lang="en-US" sz="1400" i="1" dirty="0">
                <a:solidFill>
                  <a:srgbClr val="000000"/>
                </a:solidFill>
              </a:rPr>
              <a:t>(user);</a:t>
            </a:r>
          </a:p>
          <a:p>
            <a:r>
              <a:rPr lang="en-US" sz="1400" b="1" i="1" dirty="0">
                <a:solidFill>
                  <a:srgbClr val="000000"/>
                </a:solidFill>
              </a:rPr>
              <a:t>long</a:t>
            </a:r>
            <a:r>
              <a:rPr lang="en-US" sz="1400" i="1" dirty="0">
                <a:solidFill>
                  <a:srgbClr val="000000"/>
                </a:solidFill>
              </a:rPr>
              <a:t> </a:t>
            </a:r>
            <a:r>
              <a:rPr lang="en-US" sz="1400" i="1" u="sng" dirty="0">
                <a:solidFill>
                  <a:srgbClr val="000000"/>
                </a:solidFill>
              </a:rPr>
              <a:t>before</a:t>
            </a:r>
            <a:r>
              <a:rPr lang="en-US" sz="1400" i="1" dirty="0">
                <a:solidFill>
                  <a:srgbClr val="000000"/>
                </a:solidFill>
              </a:rPr>
              <a:t> = </a:t>
            </a:r>
            <a:r>
              <a:rPr lang="en-US" sz="1400" i="1" dirty="0" err="1">
                <a:solidFill>
                  <a:srgbClr val="000000"/>
                </a:solidFill>
              </a:rPr>
              <a:t>System.currentTimeMillis</a:t>
            </a:r>
            <a:r>
              <a:rPr lang="en-US" sz="1400" i="1" dirty="0">
                <a:solidFill>
                  <a:srgbClr val="000000"/>
                </a:solidFill>
              </a:rPr>
              <a:t>();</a:t>
            </a:r>
          </a:p>
          <a:p>
            <a:r>
              <a:rPr lang="en-US" sz="1400" i="1" dirty="0">
                <a:solidFill>
                  <a:srgbClr val="000000"/>
                </a:solidFill>
              </a:rPr>
              <a:t>response = </a:t>
            </a:r>
            <a:r>
              <a:rPr lang="en-US" sz="1400" i="1" dirty="0" err="1">
                <a:solidFill>
                  <a:srgbClr val="000000"/>
                </a:solidFill>
              </a:rPr>
              <a:t>type.processAccountSiteUnit</a:t>
            </a:r>
            <a:r>
              <a:rPr lang="en-US" sz="1400" i="1" dirty="0">
                <a:solidFill>
                  <a:srgbClr val="000000"/>
                </a:solidFill>
              </a:rPr>
              <a:t>(request);</a:t>
            </a:r>
          </a:p>
          <a:p>
            <a:endParaRPr lang="en-US" sz="1400" i="1" dirty="0">
              <a:solidFill>
                <a:srgbClr val="000000"/>
              </a:solidFill>
            </a:endParaRPr>
          </a:p>
        </p:txBody>
      </p:sp>
    </p:spTree>
    <p:extLst>
      <p:ext uri="{BB962C8B-B14F-4D97-AF65-F5344CB8AC3E}">
        <p14:creationId xmlns:p14="http://schemas.microsoft.com/office/powerpoint/2010/main" val="1003148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dirty="0"/>
              <a:t>Reference</a:t>
            </a:r>
          </a:p>
        </p:txBody>
      </p:sp>
      <p:sp>
        <p:nvSpPr>
          <p:cNvPr id="3" name="TextBox 2"/>
          <p:cNvSpPr txBox="1"/>
          <p:nvPr/>
        </p:nvSpPr>
        <p:spPr>
          <a:xfrm>
            <a:off x="463828" y="1524000"/>
            <a:ext cx="8229598" cy="1015663"/>
          </a:xfrm>
          <a:prstGeom prst="rect">
            <a:avLst/>
          </a:prstGeom>
          <a:noFill/>
        </p:spPr>
        <p:txBody>
          <a:bodyPr wrap="square" rtlCol="0">
            <a:spAutoFit/>
          </a:bodyPr>
          <a:lstStyle/>
          <a:p>
            <a:r>
              <a:rPr lang="en-US" sz="2000" dirty="0" err="1">
                <a:solidFill>
                  <a:srgbClr val="000000"/>
                </a:solidFill>
              </a:rPr>
              <a:t>Akana</a:t>
            </a:r>
            <a:r>
              <a:rPr lang="en-US" sz="2000" dirty="0">
                <a:solidFill>
                  <a:srgbClr val="000000"/>
                </a:solidFill>
              </a:rPr>
              <a:t> Self Help: </a:t>
            </a:r>
            <a:r>
              <a:rPr lang="en-US" sz="2000" dirty="0">
                <a:solidFill>
                  <a:srgbClr val="000000"/>
                </a:solidFill>
                <a:hlinkClick r:id="rId2"/>
              </a:rPr>
              <a:t>https://devcloud.swcoe.ge.com/devspace/pages/viewpage.action?pageId=1111972029</a:t>
            </a:r>
            <a:endParaRPr lang="en-US" sz="2000" dirty="0">
              <a:solidFill>
                <a:srgbClr val="000000"/>
              </a:solidFill>
            </a:endParaRPr>
          </a:p>
        </p:txBody>
      </p:sp>
    </p:spTree>
    <p:extLst>
      <p:ext uri="{BB962C8B-B14F-4D97-AF65-F5344CB8AC3E}">
        <p14:creationId xmlns:p14="http://schemas.microsoft.com/office/powerpoint/2010/main" val="200514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y Web Service is needed to configure in </a:t>
            </a:r>
            <a:r>
              <a:rPr lang="en-US" sz="2800" dirty="0" err="1"/>
              <a:t>Akana</a:t>
            </a:r>
            <a:r>
              <a:rPr lang="en-US" sz="2800" dirty="0"/>
              <a:t>?</a:t>
            </a:r>
          </a:p>
        </p:txBody>
      </p:sp>
      <p:sp>
        <p:nvSpPr>
          <p:cNvPr id="5" name="TextBox 4"/>
          <p:cNvSpPr txBox="1"/>
          <p:nvPr/>
        </p:nvSpPr>
        <p:spPr>
          <a:xfrm>
            <a:off x="457201" y="2001079"/>
            <a:ext cx="8415130" cy="2062103"/>
          </a:xfrm>
          <a:prstGeom prst="rect">
            <a:avLst/>
          </a:prstGeom>
          <a:noFill/>
        </p:spPr>
        <p:txBody>
          <a:bodyPr wrap="square" rtlCol="0">
            <a:spAutoFit/>
          </a:bodyPr>
          <a:lstStyle/>
          <a:p>
            <a:r>
              <a:rPr lang="en-US" b="1" dirty="0" err="1"/>
              <a:t>Akana</a:t>
            </a:r>
            <a:r>
              <a:rPr lang="en-US" b="1" dirty="0"/>
              <a:t> is the tool where configure any web services (REST or SOAP) which are not available outside the network.</a:t>
            </a:r>
          </a:p>
          <a:p>
            <a:endParaRPr lang="en-US" b="1" dirty="0"/>
          </a:p>
          <a:p>
            <a:r>
              <a:rPr lang="en-US" b="1" dirty="0"/>
              <a:t>For example) if a web service is available in GE network and not available in internet. In this case, we can configure that web service in </a:t>
            </a:r>
            <a:r>
              <a:rPr lang="en-US" b="1" dirty="0" err="1"/>
              <a:t>Akana</a:t>
            </a:r>
            <a:r>
              <a:rPr lang="en-US" b="1" dirty="0"/>
              <a:t> to make it available on the internet.</a:t>
            </a:r>
            <a:endParaRPr lang="en-US" dirty="0"/>
          </a:p>
          <a:p>
            <a:pPr marL="342900" indent="-342900">
              <a:buFont typeface="Wingdings" panose="05000000000000000000" pitchFamily="2" charset="2"/>
              <a:buChar char="Ø"/>
            </a:pPr>
            <a:endParaRPr lang="en-US" sz="1400" dirty="0">
              <a:solidFill>
                <a:schemeClr val="tx2">
                  <a:lumMod val="50000"/>
                </a:schemeClr>
              </a:solidFill>
            </a:endParaRPr>
          </a:p>
        </p:txBody>
      </p:sp>
    </p:spTree>
    <p:extLst>
      <p:ext uri="{BB962C8B-B14F-4D97-AF65-F5344CB8AC3E}">
        <p14:creationId xmlns:p14="http://schemas.microsoft.com/office/powerpoint/2010/main" val="1385028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F7560A-D86D-45C9-9C55-DA5089F0EBA7}"/>
              </a:ext>
            </a:extLst>
          </p:cNvPr>
          <p:cNvSpPr>
            <a:spLocks noGrp="1"/>
          </p:cNvSpPr>
          <p:nvPr>
            <p:ph type="title"/>
          </p:nvPr>
        </p:nvSpPr>
        <p:spPr/>
        <p:txBody>
          <a:bodyPr/>
          <a:lstStyle/>
          <a:p>
            <a:r>
              <a:rPr lang="en-US" sz="2400" dirty="0"/>
              <a:t>Steps to follow for SOAP Web Service Configuration in </a:t>
            </a:r>
            <a:r>
              <a:rPr lang="en-US" sz="2400" dirty="0" err="1"/>
              <a:t>Akana</a:t>
            </a:r>
            <a:endParaRPr lang="en-US" sz="2400" dirty="0"/>
          </a:p>
        </p:txBody>
      </p:sp>
      <p:sp>
        <p:nvSpPr>
          <p:cNvPr id="8" name="TextBox 7">
            <a:extLst>
              <a:ext uri="{FF2B5EF4-FFF2-40B4-BE49-F238E27FC236}">
                <a16:creationId xmlns:a16="http://schemas.microsoft.com/office/drawing/2014/main" id="{7F8A654D-0F8D-4A6E-B5EA-62FEA7A689D1}"/>
              </a:ext>
            </a:extLst>
          </p:cNvPr>
          <p:cNvSpPr txBox="1"/>
          <p:nvPr/>
        </p:nvSpPr>
        <p:spPr>
          <a:xfrm>
            <a:off x="318052" y="1510748"/>
            <a:ext cx="8666922" cy="738664"/>
          </a:xfrm>
          <a:prstGeom prst="rect">
            <a:avLst/>
          </a:prstGeom>
          <a:noFill/>
        </p:spPr>
        <p:txBody>
          <a:bodyPr wrap="square" rtlCol="0">
            <a:spAutoFit/>
          </a:bodyPr>
          <a:lstStyle/>
          <a:p>
            <a:pPr marL="457200" indent="-457200" fontAlgn="base">
              <a:buFont typeface="+mj-lt"/>
              <a:buAutoNum type="arabicPeriod"/>
            </a:pPr>
            <a:r>
              <a:rPr lang="en-US" sz="1400" dirty="0"/>
              <a:t>Visit the </a:t>
            </a:r>
            <a:r>
              <a:rPr lang="en-US" sz="1400" dirty="0" err="1"/>
              <a:t>Akana</a:t>
            </a:r>
            <a:r>
              <a:rPr lang="en-US" sz="1400" dirty="0"/>
              <a:t> Home page : </a:t>
            </a:r>
            <a:r>
              <a:rPr lang="en-US" sz="1400" u="sng" dirty="0">
                <a:hlinkClick r:id="rId2"/>
              </a:rPr>
              <a:t>https://dev-power.api.ge.com:8910/apis/#/home/login</a:t>
            </a:r>
            <a:r>
              <a:rPr lang="en-US" sz="1400" dirty="0"/>
              <a:t> </a:t>
            </a:r>
          </a:p>
          <a:p>
            <a:pPr marL="457200" indent="-457200" fontAlgn="base">
              <a:buFont typeface="+mj-lt"/>
              <a:buAutoNum type="arabicPeriod"/>
            </a:pPr>
            <a:r>
              <a:rPr lang="en-US" sz="1400" dirty="0"/>
              <a:t>SSO users can login by clicking the GE logo </a:t>
            </a:r>
          </a:p>
          <a:p>
            <a:endParaRPr lang="en-US" sz="1400" dirty="0" err="1">
              <a:solidFill>
                <a:schemeClr val="tx2">
                  <a:lumMod val="50000"/>
                </a:schemeClr>
              </a:solidFill>
            </a:endParaRPr>
          </a:p>
        </p:txBody>
      </p:sp>
      <p:sp>
        <p:nvSpPr>
          <p:cNvPr id="9" name="AutoShape 4" descr="data:image/png;base64,iVBORw0KGgoAAAANSUhEUgAAAnQAAAD+CAYAAAHE2qjOAAAAAXNSR0IArs4c6QAAAARnQU1BAACxjwv8YQUAAAAJcEhZcwAADsMAAA7DAcdvqGQAALfJSURBVHhe7H0FfFRX2v7s7v/b/dZ3v+1uu9Ju22237u5bo7J1o6VKaUsLpVChheLuLoFggUCIEHd3d3eZyWTinkDQ5/++5947M5lMkBIg0PP09/Tc4/6c99653OgkThMHDhzA8ZiXl4eM7Dz4xtpjrkrt2p47WJjmt4Tl5eUil+rjOvNyVVe9zqU4zc3NpWsKV64trjmfll741TJFmHU4UVzb5GXXnH7wOsXgTZkyBe1t7WhoaEBbWys6OjvJbYOzszNaye/TvhC5DcBflgOf+QF3rAUSagCvMuCazYB3HfCxL+CWBnySB3wYAazdB6wrAH63GlicA4zdAmxOAnYXA9duAG5aBfx2MTAtHnBPAYLygY2ZOK8gBq+2thbWrDcZ+/kb62phMBhgbG2BodYgwvR6vbg2GCiNRgrndLUqDSK/gdLytZKP2dzUjLYmE4ycnsM5vXqt5FHLYpfrpQlkf2tjnZKmX53s5zr0StrGBhEm/MLlsrkOrcz+bRlQp2iLUofWfmNzE2obiey3qlMMXkNJJMqL82GszkJ1dTVemR+H6spyxCalC//N069FjcmE+Isvh1NcKZqM1cDBHBiM9aiuKUZQQCCqqmvg4OAg0ueXlKI0NwXpydHCP2PGDOFu27YNoWFh+L+LLsboTYmIzypBflYR5a1EdkEBsoqLYaJGbfP8WqSv9Q4QbvfqDcJt6eoT7saNGxGTlo8Ify8EhUahpqYGE//0dxGX6ewmXIbmVlVV4aOPPxYD2tjYSPXpzW3VV5Yp+XaMEe6mxUvgH5GMjMwcRCZlwDskBrlPPYf8Dz7G7T//uUijUQyeqOE8he7FAOjeCT1pXvRZtN1wu3xpYNnWOO3Be2x6JB76Plz1nX3w4H3jUgrvkh5c/UnCgM7aUhs8DYcPH1GvLKho7MUVX8ZZBm9kCJ5bHN8vH+O0Bm9beAWcIitR375fDTn7UFZeGH76bih+NyZM6eyoUOH/zegw/Jr48/dC8ccvY/Azcm0H73g44ytvKw3glrBy1Xf2MZTbdndsHbbVtOH/faKmOdOD92PGsBi8tvb2M8rW1ja1pqHFsBg8RndPzxnj0aNH1VqGFsNm8Bie3hFILa2Dv+t2ZOXQLccQ4YIfvM7OrjPGH8XKO1OQg3cakIN3GpCDdxq48Adv0xVnjBf+4K2/6KRoXPYHdHcW4MjuX9qNt8cLfvCOrvz5maPUvB+OH/XgrYkwwauyF419gG94OfIyy+AbUYjFezLQ29akphoccuWdBuTgDUP8KAbvAl95v4dHnA7d+7kp1hwaXOCDNxd3fKHDC3N1uHvS0A4c44LXvBHTdHhtoQ7TdsnB+wHQBm3omyNP29OAHLxhCDF4Ej8A9t7Fs6Z4Hy3X+l069X26OBt/v3furK8Ho3UexY1M1t6RU+pU3pNT3oc7qffr2G8Os1wr79dxPJev5NPerzPnUdOa0wu/pUzbOnVtrW3IysoS7+FlZmaio6MDJSUl4PD0jAyxLDfmfYvVNUCqCfjXSuD5eOBjP2CcF3DxIsAtC7hqPeCYDGRTmtHewDR/YOQqILkeCC8DXCsB53QgugLwSAGmZwJTgoAxPkAwxc0uB1rzRHXnBXS1Rn7HrP87eBrFO3PqO2jG1lbx/lpbg5JWeedNeYdNvOMm3mWzesdNfadNe1dOew+upUV5r6+hjsrhsq3ecWsymdS0ljBTczNqifwOn/K+nFaHnTrJ5fqYBmINu2o8x3Fa2zpFGURLnZReLVfkIb/Sd/arYURdTTUtpb06VJWnoaokEzU11ZixIx366nIUFZfj7t1V0NfoEX/J5co7aJ/HC/dYbQAqKG1GQRESUjNEWHp6OnKKq1BWko+C3BIUlVViwoQJqKysxLfffivSPPvf54Sbb2hHfJgfYoM9UVSgvAd4JF0n3OXR3sJtr9Yj87W3kP3oU7h0rBdNWi2ioqJQRXF5xQXw9vBAYkauSLvu1TdQQx1afNvDdJoeQWdnp1gZXLfLLmeRpqysjNqlpOfdFRKThhqDUfizto9GSWEZ3P3DEZ9ZjMoqamNRkYhjsPvyyy8Ll3nen6q2L92ciKeSxzatNU5r4K7+zB93fROKvXHKrJwL6N4Kxuw9BbhqcW6/Tg5Gxvubj//WgU9GI3Qjg8X19ZOjkZhbgL3R2cKv4bQG7paJQSg3dWH23nOn6jwYv/0wDLq3Q/GL90Pxv+r1zz4g990w/Px9dkPxU0r3PxTPGLUhV7jHg+5NZeCu/SYKCTn5cIvNEX4NpzVwK32LkVbWovrODWxX1Ik4WJ6tIZXYUdKEVxwK8Lf3lJcgbdNaQ945/ECc84E7ePCQ3XflhpJnAud84Pbv32/3Pbmh4pnCsBg4RlJaPkKiExEfG4qsdOWOZShwxp6QqO45Aw+c7btxQ8ljx46pNQ0ths2KO99wwQ/cBb1VzyTkwA0zDI+Bs/Mu3FCxqenE76D8EAyPgVtn/104e2yIC0ZXbYrdOHtsampWaxpaDIuBO7rif+y/BzcEbO9QnssNNaTG/UCcFwMX6l+M3INAUIYRSQUGGNs7sdCjSMSduZuq40OuuB+Icz5w5yvkivuBGCYDp8O4jTq0dnNzNK4kDl8Mi4ErN+kQnafDPV/qUFanDdzwxrAYOLe4GqSX6dDSpQ2aHLgTQtuqFk4kDn8Mk4E7/3DOB+58hXjV6/vVXkjIKkdMWhFCYjOQWlCD+MxyYpkIj+e49BJEpRQjMqUI4UmFCEnIR1BcLjEPgbG58I/OFgyIyUEA+TnMTErH5HCv8AxylTx+lJ4ZFF+EoIRC+FNevygKi8qC73HI6fqVb8OQ+Hxy86gtudjpGWm3DI1+lIbrU8h1n5je1IfmllYcPnwYPRWVONjWhsNHjgj/4SNEdsW1Gnb4CI5oYSqt/UcoXrjWeQWVr/3sC0nBbu9QMVba2LLLY+0fo4y79ZiZ08XxOPQfm8F46yszcMML03DDi9Nw9dPf4q63FuHuUYtx16hFxCW4551leGD0Ktz37nLcOWop7ib/Pe+uENd3vEXp3qawtymd6t5L8Y+MWY2HPliJO6ksLu8eCr/tjfnKouvq6hadO3rsGLq7u4jd6KYw/kqadj1ixAisWLECXewn7tmzBwkJieKaERkZiYKCAuQ1ArdtUng78Y7Nijs2GPjCm9JVKXEczjSnVdNpfo2fZFrSammsyWkm+JLhFwcsiARmxAO3bLTkX5+vuBNDgPf8iX4U72CJN5PKvm6dpU23rAdmRYuuSQwxxKLjL7kJNqiuFZtUl9/bbLAK72jvEK8K8rU12g8AmzMUGnsU15EWzuZ0S7jGjWnAJpswa+aZFDe9HVibOjB+MG5Q6ypqUFxRv5Vrj1rc2hSgpF65jq5ROyUxpBCLjj81WF1tQGN1LvS1JlQ3NqPWaESDySg+Q1hXq4dTUC7u/joaxgo6vnbMRkpeEUl+ioifEGWiI6ITDcYG6OvrkfC3KxF/0T9EnHN8Ke5dmYMVQYXCj75kHGtOhaG6HNM2eyMjtxJj1jsjJjoG8eHOMOhrRLqt27ZixozpqNEbkZefB0N5Knz2rUaDoRQF2bkoyUuFS5xSJr+DiqYC8QnEGsr//PPP4+677xZxrMBr167DRX/+i/CP3xiLWFqNiVlF2BUYj5riIuSkJqG2uxl6fSVyCstRTenmhATjax8f+KQofUwqWE7HXKQon9+VrT90EO77PERc2DPPo3LNeiTcfb/wO8dWo7P3ENoalfFLTk7B/PnzUU/+zKxU1NWbsGjdFsSEh6GmuhI+fp7QUzpOm7hjJ6qS0qE36FHX3IzKvEIsuu0BEdfeeQA7PKKRSWHcjuDcHjTMXSQ+BVlLbXo+YS9eSNsn0hr0BkRHR5OQNGDL4hUo1TeJcP5c5YyZM+haj7RQd3jF0DisX4nS2noRf7Q9Avv1blR/LTq6umhsjYh13YLY5GzklNWhtjgdYbvWIiWzAMsdViEqKlrky332RbQHhSD/w0+E/6233sK/r9TBaKwTfmuaF53kuWGjqfaMsqHOcMbqOVG51v20plh0quqdE7jG1yC7qg0bg0vP2PsywxniA48jA6F7MwT3TY3HA3OS8WxgM+6bn9bv5dAfSv4gpKiHrq/+Oh7+WU0/iFFFrYgqbEVQTjN0o0LExyO1cplfbEvGt7tSUVheJL7uyWGD4ZwtOo9EPW6YEIisylb8Z1qEeKf9Uv6HNz8yKIsuFM9Oj4LuLZpM5sgQXD87Fn/9JAy6D8OVieVwdmlxmv18Te4t06Nx0RgKezsU134ZIcKumajks1504v37Q11w37UV67c6ot1Ygm1Oe0T8iaB7NRC1rQeU7+SODO636NLpBpLd/y6Jxy/5NXZuF7VlMJyzRRdX0IiHv49AVF495rsXoKyuEy2dfWrsjwen+inbU6X1ohtS2ijdZ47JmLYnbXgrnYQC3Qv+QhXOFP/vU3XR2Yk7Lnkx2QvX+KL/CcsdDHLRSZx1yEVHOF9/h7PGmXoT+kxALjrC+b7oeMHJRXeeQS66swu56AjyeD27kIuOoC06/nfXrW1t5x35obpcdOcZbJXOaGpGfEQS3AOioMQcxE4HBwQn5aC0MBN5xaWIjokVMcMB8ng9D6EtuoMHD56XZMhFd55B2nRnF3LREcyLbuM/AIdLyVXJ1/b8x0tjk+4ol7nhr4LdG6/oFyd4MuXY+m3C+J9Ay0V3nsG86Fb/GljzGyK72rU9//HS2Auja1G2bbxNmn5+e2Gav39YU7NcdOcd5PF6diEXHUEuurMLuegIctGdXchFR+Av6vO/cjuf2aF+rvt8gFx0Ko4cOXLe83yBXHQE5XjlYbDlr1ROU9lAbCMOvzec5fF6nkGz6YoMwB1f7MTSfcqnaIIzdPh6q+1CZC4jDi/IRXeeQVl0M+Eap8Ndk3T4fqcO7b067InR4fpPdciqsF5wwxNy0Z1nsL573RCgw1wXZYGNWa1DBy0+YLKIG86Qi+48g2XRKYutP58mDn/IRXeegR+ZiA8FncfU/sLZ+QCx6CQkJCQubCzcyp8FqEZiVjmCY9LFRxGTcivFBxGZidkViE0vRXSq8kHECGJYYgGC4/PUjx3mKR8zjM4WrvhYn/UH99QPIvI1f8SP0wVGxQjXQv64nxJ3og8iBlB9/cq3Q6+wNEqjpPONyh5QhjWD4/NFnafyUcSd3lHio4V9zS043NeH3qoq9WOIR6w+dqhec/iAjx1akR/s9gvTPqSocMHq7dSPfOpTar+PQQbE0ljHKB+j5I9TWo8bjzOnCU8uNqc/HiNTS3DPO0vFBxGv+e8U/PuZ73DPqMXKxwzJvfvtpbjvvRW4/72VuEf9KCJ/EPGed5fhjjcp3ZtLRBrxUUQq5+5RS/DQ6FXio4j3kv/OkQspTPnI4ttbCqE70Gf/Dy33Z5/5us/qmnno4CHLHzPOs/2DyrZ/WNk6/FRpXZ7m2pZlG2ftt053chR/bFn8gWbrP8Bs+SPMyh9iVv+AM8epac1/nFn9A85aWnMeEaaVqYaTa8mnlKOEK3WKfOzX0rBrU6e5Pq1MK55MnVq5Z7JOsei6+MubXd149dVXhStIhikn6OpSvsrJi4u/+cYfQOTf+Xp6elBWWkbx3WhX/4igp6encJfFqF/MVL9oyeSvW16/HrhpHXCjg/IFTfFlTdXVvn5pL+yWDf3L0b6+qfknRQJPuAG3bqPyNwJv7KawIEv+G9bSNbn/2af4A4qVOFGW6jJXUjjHc/mjM5RriaGHWHT8hU1eXE47d4qFxn7tC5vNTU3CP3XqFHFLztf8r482b94s/v50W1srWuiIYQT1LBXu6jhgchkwMxj462ogVg+8HwFEGIB/LwFy6oBPKM3DHkBSLeBSAMST65YNFDQATtW0eHYB7rSYxtMCvpyK/TuVs4b8l9AC/NtK4LV44DJaaMmpgB+luXEL8AAt6iucgZR64F5aeAvCgQ+p3jtoMc7OATIqKR+1KaGK6iCG0iLLoLZ8XQrcvxWYXwL8YSGlpTI+oPS/XyO6IzHEEIuusbHJvMDYFWxQrvlzr9onX1nxtHi+Pe8ltWtsbEBDA/8eaYH2OVeHdGCj+hnWVSnABjXcmsbugWEarT/3yrCOOxnyZ1y169VpirvSKsya1mmt65IYeohFp/yZ/oE0Gvv76039/WZSuhaKM5j//H8LsRW1JhOF1aKO4o3kGiiultLo9XqiQaQXeYRLcQbra6VskUbNp1wrdShhSjj79foapUyK1+K061ZqSyspt+I3oLnBiNbGOqVukZbC7dRZX6ek0cox1JkojdJG0YamRiUvhZna22CkE8BcJ5Xf1kT52c/ptXLVvJY6reIoXE/++hb+DK1e8ZNbRxu7fz85TilLGUslLfvruCy1Dfbq5DCNWp3cDuVa9XNa0S4lH4dr/TTnFWmUfOY4Gmeed3OdIq3qqnk5XCw6/hxnaXUZyqr5+7h6LJryCXLSE5GSEIP4lGzxuc5vt6RhuXs2LR49FrtGo6K6BpXFBSJ9A4UxHl1zs/hWb8p1tyHpiutQ5OAo8k4PqUV4Waf4Tm9lFZ1nLZE4po+GqbYcifuWU0P0+HrDdmRGeSAhierjb/pSPj7q+cPbs2YtQVF2CpzWr0K4ywoUVBjw1fwFqDcqnzWtrq7G7t27cTTTWfjDw8Jw3733oqK8QtTp5OSEnWQ6sMnQXF8Ll4RKHDl2DCZ9MVYvWoCiCj0yvVwR6LoW+SVlogwTDc5kPz9MJDuV/TX6alz+4mjUr58g/A3fzsQtt96qxDE3b0UvnRRcH/trW3rxqWOauOaTYePGjWJxrF6/F5nJMYhNy0VBaQVqqdyYvRuRnpUp0uYHhiMrIAz7PvtG+L/986UojE1CHS1w7uca93KkZuWJOJOpDnmvjcHRDh7bGszPicLLiW6oonQc77TDCZMnTxbfDm4riRRhTP4CPo+ry+LZSEkKxIapX8CQr8QHuWzA4Xp/hLs7Yuaol/DKN4uREuWOxjYSEloji7bvxrQNgcjV16G0OBelJaW04Pg7z3o0bt2B4hdeE9c5OWQrEZ566j5zvRrFouPOPL77UzSnzUSVvhGmhmY4bNkLdy9fpOWWic46+ubgnWXJ4iPUlTXVqKooQVFOkYirN1RjksdifO81QfgT/nkN4v96JQo3bBL+v8/PxorYenFdUWkEestwtDoc1VWV0FdVwDc6lyakFlVUbnVFqUjHLC8vp4E1ITclFsmRQSguKhKNziyuQlFaIrlKWp7Uykoy2AjsNxqNcHBwQGFhofA/8sh/xE7kRddiMiClvAkxhdQe2jDFVbUoyCxCalIUIuNSUJRFG4ny8MQl5qTBNTFTaY+hAUsDE1FXliv8puQ0BEVEoJLjiKVXXof8f/5bbLoa6sfRo8dwyUeeIo7bV1amLObirETEhgciIjELelMzmSaknjUVqKTx5LS9vfuRsdMNNUkZwr/hsReR6+YNPZ0W/DHrfVHKBuc47udhI21i1V9PZs7Hoz9Eamqq8G/atAmhoaHiulotn1lRUYE6UvH8jDhUlxejsqwU6QXFIi7ccwcytn+I+GAPFNDdZlZBEc1vBW3CSlQXZ9NGKaM5rKK2lKKoKBeZGZnQc7nUt/Q//wMVH30mymGTq5IWH8+fVq9Gs9JJnjva+0D0UJLrMNGpYC/udMjl1pLK2YvTaN1PjWLRia0icc6gfT71TJHx9NJMu3GnQ4Zrcr3dOMFXAkUaW5zTRccffdkWXiEYkVtvDvuxgSeoq/sg/t9H0fjJh1H4f2+F4H/eiaBw9YPWp0mGtujsfTX9ZBiQ3SS+rM6c4lZmLte86N4IQSrZivPd0/Ho7DglbDguuoSiJtz1TSienBWF/86PwbXj7TfyQgdP0LeelbhydhauXZiL374YgD+MS8MDY3nh9V9AP4QMbdExujq7hHsqeHJxBn6nfke4t++IuSxt0b2+KgFJeQVkO5eIL7v/hD90PRwX3cuL4lBo6ECZqQs5VW1iAfLflPixgSdtxPeR4jP+fG3+VP8bdE3u/32g+jmc/34DTyinZT+74vP56mf031LyCJfj1cVhveiCwwMQkZAGb3cn+AWGwIluuk6EV1Zn4x/jozHasWDgouP6Xg8WYTV6WnTkLvdOH56Lbm9cDabtzsFX27MQkmXCTV8EYkekchf6YwJP0k/ftSySn38Yjt+MpkVEqvK7D8OUOOKfxobj15qf4z4OFxOu+X8zmhmGpTsSRTk/4XByGdaL7nTRQqaAVpamdG+uoTqpLU/Mj1f6wRyOi27yDroFN7TjlknBSC5pxr/H+aPEeP68iDhU4Ek7k2Sc8RsJUtz0wkIs8czAQzNjlbDhuOgYrd19SC1txs1fBGFD4I/0zzRZTeSZIOOUFt2UdIzfWQy/8nZ8OqkEo3dVYbtbLoqqGvqlY5gXnT0O10UnQYtONdDPFBlPLaFFZyfuuKRFYzdcJWMvLzo7cYIvK39RxxZy0UmcdchFJ3HWIRedCv6q+vnO8wVy0UmcdchFZwX+RzDdPT3nH7t71B6cH5CLzgr87z3OS5xnj5nkorOCtuhcd+yBi9NO+O3zQ15xEZorM5ER649AT094hSeja7h9Bk4uuvMXUunODuSis4LyPZCu848d59dPh3LRSZx1yEUncdYhF50VOru6BvxJy/OCrfwN5PMHctFZQd5InB3IRWcFbdH5eAQiJCQZ6bGJyC7IRXN5FiqMehhK0hHk7wNvb18cpnT726uhbz8k8pxTyEV3/kIq3dmBXHRW4BdI7f0B3/OB5xPkopM465CLTuKsQy46KzTFbwQ2XXH+kf9q9nkEueisIBad9Z8pt/7z5SfyD5Kme/215P6d+Fcc3XgZsP6S/mkGyWfXP1ia9RepPTg/IBedFZri1ikTOITs8XHHwaZqHDIG4eDyK9Ea/LXddKfF1b9Re3B+QC46KzTFrhJ/D9/yt/GVv49v+/fy7fuPl4a4+lc2YVoae2GD+QdJs+Jnag/OD8hFZ4XWlC04uvLn5x+Xnl9TKBedxFmHXHQSZx1y0UmcdchFN0QI9szFsiQTQvM7sDOsHL5JNSjMNSCxG+g8xK8HEA51YMKWDKTUtCMhqwIpmQb4JVRQxEFsdCtQ0vwIIBedxFmHXHQSZx1y0angv3d2vvN8gVx0EmcdctGpOMJ/c/U85/kCuegkzjrkousHHgpb/oo4zYr8L6/Or399NdwgF10/KAvNM0mHtX466Jt02BhovQCtKfFDIRedDRrbS3D3pJ3wTNRhyg4d7pqow74E2wUnh+x0IBedFY4e0+GR73Ro7tQhvVwHU5sO93+tw2pfueCGEnLRWaHvkA5fOuqwJ0YHFyIfrezvOywX3VBCLjobjF7lCkOzDnfSsdpEinfPJB02BFgvuBs5mcRpQC66AShGPR2rjiE6XP0R3VSQbSfVbWghF10/aAvMHiWGCnLR9YPtQtPYQZQYKshFJ3HWIRedCv706/nO8wVy0UmcdYhFJyFxTrDAMRgLtoTC2ScWsenFSMgqwzMvvoFN23bhvkeewNdTZmH24jUinONj0ooRl14i/BrjMkoRnVaE6NQiRKUUIiKpAOFJ+YJhicw8hCbkISguB0GxOQiMyUYAkf3B8XkIjM2Gb1QmfCMziOwSye8XlTWAbr6R8I/OVvzRWXStuIIU5kv0ofxO+8KF6xuZhc1+Scjx+h9s8EmGR1gavCMyzPSJyMLipYsRGJeHWcvXw4/ymOPD0+F1GuT86zduR1BCbr8+nCr3+ESLPnPf3IOT4eIfBw9yd3pG2K33ZOkZnIQFC9YiIDZLtNVC7rstM+HoFEDjReNjN56ZCfeg5AHhXjTm+0JSsNPNH8fov6NHj6Ju+Wpk/ONf6MnKRtOOXci59W6KgYj7ITxmJ+xMs6SsAi5+cdgXlorlm4Pxz+eS8OIXqdiy20vMlfUcsl9Z4wp9aK0L0jrzj8nBt+u8aayU8VfmJ0243hHpIl2/8iLTscXRCT7xhf3qOB06ecfirrcWY9rKvYhM4X1cRC7t5WSF8bTPH/twKZ78dB2e+HQ9Hh+7zswnyf/UOAeMGLeR6IAnyX3y0414+vNNGDF+Ix75aA0e/GAVuWvx2Nj1Iv6JTzfg4Q9X4cHRK/HImDX4z8dr8DiV8+RnG8wcMW4DHv9kLR58fzkeonQjKOy5SY547sut+O/EzXiaynn0o9VK/AfL8Rhdc/rHqD723/3WIsvpGhSZhIrKGpSVV6K8vArlFTasrBZumfBXksvpyGXyNYdRPuEnllq5ZpaxW0FuhVgcTL629ptZWml1bRVO1NL3y6eWy3Vo/hK6LqZrbpcI08qxdYmcTrvW4vqVT/5iTm9mudW1mt/Kb8lnSae0Tw03j4MyJlp6Eab6tbTmPEQef/Zbh3EZ/erVrq2phhfbtNsSZwnv308bWtUl0lHefn0frH6eT3IbGptw6NAhHOJvOR5SvucortlV/YJ0zeFanJJWzWf2KzSH8bV1GYKHzNdanOIq4UpeSxrrsEPW4ZzHuk665nRa3X0H+yx9tRqDUs1PtDeftnFmmsuymS81fmAZNL7auunnqvtBTaPksw7jsvr7K6pqkJCai8Q0jTnCTUjNMTPe6tocRunMfjUvu4qfwylMjVPCNWrxCkUaK/arS82rtCtPYbpyLcowl8vpLddmoevt3Y/e3l5ij3B54nqEv9euu3+/cq2lt+aRI0fFPcr+/VQmU02j5T9AYXzd13dQydPTg86OwR+/VrUDNzkAt2/+Ybz5NPKeDG/dZD/8bPGWk+jfqY7BYH2yDp8VrU6QhMQwh1noOjo70EFiw+I0atQoODo6ws/PD+HhYejq4j8+pcS3tLSgrKwMVVVVSEtPR31DgxrXKZ5Ofv755+KEy87OwZgxY0R6juM0nZ2dCAwMwMcffyzqqK6uFmUyW1tb1SYBCxxnIsuQAuegbcKf2wDkEcPygXDSwykhQHI14FYGuJcCj+wCdlHc+jzgr8sBvzTgUQ/gSdqMwYWA3gR8FU9pCwCPIuBBjqMN+681VKYe8K4EbiS/D8VP9QEWBgPRBuBrKofz+VIZ03KAFaHAdRsB50zgwz1AKqWJrgBGJZOQrCM3DHCl8l/ZTW2jPKuiKJzS76M2OqYAntTeSLoeT+V6FQPbqb6xLtQmqsOf8vmXAJm1lMcVGLGF+loOXOUMjNsKpFD/b3ICXqch2ZYFvLodSKO00dT2xanAR1QXl/FPasdsX4qrA9JrgOtXUv3UPkMnEF8FPLSX2k/j9ByVH0Nj6E3X0eTeSeVtpn6NoLo2UTnfUfiDlJbH9TmqM5DSJFGZryfQGMXQWFL7N8SJ6ZGQGPYwC11zSzOamxWylTVlyhRhibWoYf1IaQsLi9DU1DQgjkWRReypp55CQECAELrmZqYSv2LFCmzbtg3jxo1DQmKCKIvDG5sa1SbRxk0cg5Vp4zDV/x3hL2kB3nQD3goEHtgJjKbNP482WxwJ2HzabA+SALD/XT8gkTbzvx3J2vAmYdhAZZGIfEP5nvGk61iKI+H5kITuDhJBjs9sImGjMq4mgeC0j9JGH0l5b1sPvEP1vEzXnG+kP3ADWUVvk6guoHSvUzsSaPNPpbKfJnEcTyJ4CwnCdxEkOlT+LCrzI3cSZWrTuHBgIrkTKG5yAIkUXd9IbX6M2vIJidp3JEzfUvsnUF0fUjlfUvx/SEjnUr2jqL7pVNajVPZGiruZ+raQ6n9qB4kfifS0IOB9Sv82uWOpj2EkyGxt3Ua8nvqQTmJ8HfXzc2rnS16K9beI8t9McS9RHRNJ1F+idnIaHofJFHc7jcWr1Kab1Lo47XgS8X003g9R396ieq6hclyTxPRISAx7mIWuvr4eP5Qmdk0Dw20p0g3CBrIM9Xo99DVEdm1YYxVeYxV+XFIee2lPOr8NB81n0+YfWj7zfOrnoDyJdNb9HIwD2mG3nzUnLGuw+EHHjOvhPCco90z2s59f8CT7WVPTP5zCjtdPLY1t/EnRKp/SNpu6T0Q1v237TmbMTqmfRLPQGfQGGAwGtM6chtq8XJh8fdD53lt022cSCfkhstIwSidI15ReuFbXZRXVGL8hFZv88pCZXy7K1BtqUWc0oNZYL9IwjcY6CqtV8or8ekQV1tCtVQUe2FOKyqoCc1xtYyOS/nkNEv/2LzOL128yl5VQUIV7V2ZC93k8lgcVwkR1cXmcl2+PAbpvO9KuSHsntaWhRbS3vs4IQ60JtSJtjbBeOYzzGajNtRTH5Vv3k/vj4rIXmxw2oaKiQoQxTfUNJPZ1Sr0Go+hfPYU1Udt5zLR0dUaqk/w8ATwm5rEkajhmpHvTyhhU65XxEf2kevn2nq1odrXyuL7UtDRc+s8rcM211+GSv/0Dt95+J5opHefraKnHH17fguV++Ri3LRn3kPmYlFUs8jZS2xrqeX7VNlAddfWN4rrWqMy7Un///mcUF2NVRASWRkZiSWAgGngcRR8V1mcHo2fJ62hy/Bp6Ko/baC6DLPe6mQvRud0FrfmFok6lHwbsffoZ7PnZLxH9qz+i8r8vo/6hx6GvraU6lXr/9IEH3l+XiNUBxfjZ63vQ0VwnymRyX9atW4dVq1aJa629/GilkQ9RMcdKG3gtG2uVtor1yWXQfBut+6yG7z/Yh5il6zDzsmux9eVRYn5EPOWtoc12dH8fZl5xDWbQ+jzY2oEaWm9a3fyLrPYLMoPvkJS8tF5oX9mC16o2HkZqT2xFEb7LDEFzraWf3K5aGpMtW7aI/tZp65XL5H5apdXWraurKzZt2oTy8nJz200NTeIuykDpef3XNTTSeqX+87pX50sZHyMCdixEbJAHjKZGWhe8xg1opLs0FpsWLoPLrDXSnRlpBNerksMbhH7Uop72uoHGt5bD1blgA0fpr7o2uF7qW85jzyDj4ssU/vVyFLw3Rs2jsK2tDatWr8EHo99V9pc6Zko52rXSB61cs9DxIDN3pHkjt8wEj+yDaEuYgqqaWlo4RoyZPBMbPUMRktGE9RsXo7brELa5esA/KJI6rOQ11dZg/PpkLNiTgcV7s/Dp+nTxS21Vfir2uO6E1769iIgJxeT3PoX7rD1w9U0V+ZgVVdWYm9KI1r5j2Bi3BI+svgHNdS0iroYHa/lq9NDGaNy9Fweqa5C/co05r3N8KS6dnYFx7pV40zELs0OpzcYapdxKI9CXArTG4pghEMdqYqEvzYW+PA8ubs7wdHdBcFQYNu1ywasfvoesolLsWbsI/rFRqM72gaEgAiU1jea6mFu3bhWLvKCggBZanQgzkbDMddiGjz//Du5ee+Hn640k/5XYvDsIc7f6wmPXPOxcFoBZe9wQsms33luyCW7xheYyeXN+//33aG9vxzffTBYLv7KyUsRxXV999RUyMjJw3333iWec2dnZ5rz+/gHCvfzKq3DPfQ/gxZdfFY8DOKyO5mSBexb8M/TYGFKEjIom5BdXQl8QjdyaVvjvWoPNk12w8+ut+GTKIuzY5oWtGzahMnEXdm+dDKdJqzHD0QFGOgi4PBMtxLkhISSgLVgSnYBjhw5hd2ysuS1ppYFw8N6Lq198F7e9Nwl9CR6oUuOqadHVjBoLR+ddYqNnZWaZ8zGDXnwZRUuXI/fmO9ARFoG0R55ANfVdi3dL1KOkrhPVjd14dVkc2hpqzXF8R5CQkCAWOD8a4TFrNpbBNboI2zbMQMCunfja0R2uPkFobzZg0+pF4qsgC1ctRkNRNDJC/JAW7YuirFAYG5Q5Zbp/NxVddOC5fDwJRSGROLj/gDmujubc5d2P4DtvMYKWrO03Z9XVVejdfxCO3uXUNhMq9EaUVykHL7OWDjwXvwpUjXgGpbfegQO0tiurqpRyyaDYbSzEt9SuVyJ24aOxnyA1JcWcl/u4fft20cdYGnvuew1t6g2zvke4uwPKa5vMaZm8XjlPUVERibmRwmrgvnoluuty4Rfoh71b18J9lzP0VXmYs2qzWDNa3qC9DoBxN1C2DihahIh9PLYG7F67BvPnLsPUPR60XjYiPDwAyaHu2Dx3JQyZYVi3ZjuCtjrh4w/fwIHGYjg5O2G32z5ExkRj7JdfYJvTIiyZ8hZqSRx3uXiSeKtjQ33Kffp5pP3xEjGeFR+PQ/7oT8zt4d8G8gsL8eC//oUDR45iz55dFK6M2/E4QOhMBp5kPQmcEZUGZbNo5AXLlg8PFJ9c1nEaDRSfX1yBrIJyUm/LgJ0MGww1iMuNQnphCuXlCVHjaJJKvX1R4uVjZkVGpjm+Vk9iQO6+pFLakEo7tbgqElA+qdi6qudTixeF1eZRSGawKtYnQz5R2R1Yzg8nT2AhTeDu3bvFc00+7TjMXlpbcjt8fHzh7eODfZ6eiIyMMreN58M3sRAx2aVILaiEX3IRSunwsS3jVMjjW2uoR21FLFkehgHx9VRnbiVZWdritaGe+qUPi0QVzat1eAW1W+/pjSo3DxS570NuYFC/+OiMUjEuzGDqh/X64rHizczX2vwMBY1UVlt3F1K9A8gybBQCbR3f1NqCktQMFCamoKmttd+ccdrGBsvjGet28fxo4Rq1vLyWQ0pyyAKqRVRUFGJiYlBaWmrOy9TK4j6faJ2cznrlOw+jqYFYL1x7ZRjJmrMNOx2Wh4ShIihEPA6riolFRTTd3ahx3NdGOsTZtR6zE9EsdH19fZCU/DHypy9446dvB5y3/PPYMHNfnlqUYjfNsOKL3ub27o7T209zIr7sYy7jZGgWOmEn/ohxfv3te4mhhO7FAOjeCVX4RpDl2pZvBtsPP8e86DPLC41PL820m+ac822r65cC1NYCrsn1/dNpfJ3GemSIQr62jX8lUC3h5PCjFLpjx46hseMAwnNMuOubEFz/eSCKazvw5Mwo3P9dGNYHliEoow59h46ItBIXNsxCNzIQxqZe6J7xRdfhbtzqYUJKVy9GODXhT5RmhE8DLvu2FI+Nz8B3X0cP3HzniIMJ3QeO+Wro2YNTXB10rwXh35MTaDxJoEjgvncvQ0/fEcXPbRtM6N4MgXdCLq7/hsb25WD87qNwJfy1YIzekISxm5MtgimF7sTYGl6BvXE1uGVSMF5ZHI+dUVXwSanFjROCsDm0HNsjKnAnCeBbKxIRkG5Uc0lcqOhn0dnwV59E4+bv4vpbJMOMgwnd+5tVoTvWja1esdDnJWCPbyy8nB1RlBODuOQkOG7fC8e1y7HHK1JJe5p4iurXt+zHNRNi4JvZCN2oUFz5VRx6TyR0lI5FTvcKpSHBW+dP/SCB+3ZXKpzCs0X8r8eEY4wDiR2nl0J3YrCorfEvIWsuFNdPCIRXkgG1Lb3YHFIOr+RajF6TgmvHK5OxicIkLmxYC92Ta5MwfksivgnJxHvk6t6LwPvr4rHJL50OyAws9knDW+sp/PVQjFofj9c2JlG+cHy0KQFvb0jG185JmLghAas9UqF7NQRrfDMwemsiXpgZhocWxsMlIhn3fx+DV+fFYMGuREyLyMBIxwSqIwHjnMgKejecyknAm8J6Ccc8x0Rsik7H+9sS8f6GRPyErKXvwtIx0Yna8KbS5hMK3VnEiyuz6PafxIofAbzgj1u+TxJCd0KLjoTMKz6HxkxN81YI1gdk4u+fR5j78xuy8D4U401+KXQnxs7ISlwzLgBPzYnG1F05+GJLBu6jW9bSuk4kFDXhiVlReJYW4kyXPLqNLVVzSVyoOJ5FN2xIQmA3nDjoM7pRIUJshgVft3r2eZxbV4+4HNz8Ld26jgzB/44Ow0/fpXCy7D4h4f/QgURO3rqeGtYGlOBtujW9cqwfbv8qRJCtO35ex7e0n2/OwAqfIjW1xIWM80LojsOz8mPE6Ag8sTgDPyNLS4gWk4RJNyoY/5xKAvRqoCKsbM1x+rds8lvzZH+MeIPL4/qItvFS6E4M6x8Yqhq64RhajnUBpeL5nEtsNZo6Dog4+UPEjwNS6E6C4+Pxr0+C8bMxsfh+Rx5SjT14YkYCpnuXY8SmXExwLcPD81NxGQnhzz6MxNN0t8S3n3bLOhmhOxGl0ElInBpSStuRUtFx3jKjulPtCVBi6rGbZliRxltDS/ch+2lOxDJLGScDKXQSEhIXPKTQSUhIXPCQQidhBn90VeLcQ/vaicTQQQqdhBlS6IYHpNANPaTQSZhhLXRdXefPH+28UKAJnBS6oYcUOgkzjid0qdERCA21/DOh+gbL3/g4EdraWnFQvqlzfBxT/vwjQwrd0EMKnYQZxxM6Vyc35BcUIDAoCZEh8Qhw90JQZDxq66rQdQToqC1EXHwcspMTkJ8ejNwoX+zc7Y69PhHIyslDJ6WROA6k0J1RSKGTMEPeup5DSKE7o5BCJ2GG/DFieEAK3dBDCp2EGVLohgek0A09pNBJmCGFbnhACt3QQwqdhBnyGd25hXxGd+YghU7CjOMJnZd7MDo7O1Cck468qkasXbsTydFhFHMU8cnZONzbisjIGBzubkREfAaaawphaOlBTHg46o11KMzNh6HOiJjQIMpzGGnZJYiK8Eed/DlWgfwx4oxCCp2EGccTuurSQmRmZaOjowftbR0w6WtQXpCNo8eO4MgxoKU6F3kFpTi6vx3Vhjp0tdSi/cBR5GZmUe6j2N/XR/8HCnPYr4hbQUEeDss9rUAK3RmFFDoJM+St67mFFLozByl0EmbIHyOGB6TQDT2k0EmYIYVueEAK3dBDCp2EGdZC11lfjqa4DWiK3yh5FtgctxYH+g6KsZdCN/SQQidhhrXQNSU4AJuukDxb3PBXNDU1i7GXQjf0kEInYUY/oYtfLzbf8OYl6PLZgyNrf4+GsLXYXxmI5oII9DbF4eCqq9FZ7oueyhgc3PBbO3mHGdf+EU3NUujOFKTQSZjRT+hi19Dm+wPx9yr52pZa3GBpbON/aBp76dTwNf8LrCN35c+BFToczd2Hw5nTKfx3FPYLYPWv6fqPanrbMjSqZZl5ovgfmsZeOjV81S+k0J1BSKGTMKO/0K0kkfil5NkiibQUujMHKXQSZlgLHYO3m+TZowYpdEMPKXQSZlgL3cGDB9He0SF5ttjeoY68FLozASl0EmbYWnQS5wZS6IYeUugkzBgOQhe8Lw/uiSYc6tmPHtrvlfpOtDR3o/PAEVTo+a+z9yFKvx9dPYfQc+AgDLXKX2w/cuwY+g4fQbGxF4cPH0aOvpsCD6GooQ/dbb2UC0gr70Df/sNo6CRrte8w0kvbKPQYypsOILO0DmU1dVjnV6j+S9xzByl0Qw8pdBJmDAehK81vEG5ZngHpDfuRW9sD14AirIirh0tAKfYfPYbA/Hb0tLWi9jDgEVyKbhKG9X6lqG3uEM+6igrKsD6sBtVlJnjH6pGcUYOK1l4s8anA0YPdqCfhZCxzL0bfAb4+hrX+ZULgMut7Rdy5hBS6oYcUOgkz5K3r8IAUuqGHFDoJM6TQDQ9IoRt6SKGTkJC44CGFTkJC4oKHFDoJM+St6/DAsWPH1CuJoYIUOgkzBhe6cpUSZwPyGd3QQwqdhBkWofs9kZdEf4Zn6+CTrINHPLlJOhw8PDDN8bmMKHEiSKEbekihkzDDInT/Q1TEaUOADltCdLh9gg73fa3DS/N0uGW8Dnd8ocP1n+qwyluH9f7WYnY8riRKnAhS6IYeUugkzLAI3RSiInAfrtbhfhK4Lx11WOiuWHU3fqZDXIEOMfk63POlInp7om1FzZaXEuUzwJOBFLqhhxQ6CTMsQjcX3ft1iCUhc4ogS+4rxYpb4qFDzwEd5u7VYa2fDm8uUYRuN4lcYpEOKSW24qZR4lQghW7oIYVOwgyL0PE/htoK/7RpuPXzVzBy8Yv4bIMOH63V4e1lyrO5LzbpcOdEHSJydLiJLLy6Nh2OHLUVOI0SpwIpdEMPKXQSZliEzoKtob54YY4O14/V4e5Jym3srZ/rcBvxdrpl5Wu+he0vcq8Q84gSPwRS6IYeUugkzOgvdKNVvkyk29g8HbaF6RCcqUNAmg5eSTrsS7AWN+ZEosTpQgrd0EMKnYQZ/YXOVsROhh8TJU4XUuiGHlLoJMzoL3R/IdoKGfMWlV8Qc4gSQw0pdEMPKXQSZth7Ridx9iGFbughhU5CQuKChxQ6CQmJCx5moZOQkJC4oMFqt8AxGNNWeyI5pxyx6cWITM7DA488gSkz5iEqLhk33HovcstNiMsoQUxasUgTn1mKhKwyQb6OTS9BdGqRYGRyAcKT8s0MS8xHaEIeQuJzERSXg8DYbATEZJObgyARlgv/6Cz4RmaozFQYlQU/G/pHZ8MtLM3KT641KYzzcrhHSAq8IzIwb7cPokPGwj9gCmbt8YUPxXO4Rv+IVGz2zYSntw9co4rgo8WFM9Ph9QPJeQNjs7Boc7C5vT+EgTE5cA9KMvs3OfuTm40PPp1Mfc62W/fJkPvoFhCJ5dvCRFst1Pren76RaXAJSrMbp9EnPA1eYbbh6fAMTYWTZyT6+vrMz6FSfv1/SL/kcuX6txfhcHe3iDsZHrMTdrbJWLZhF62zZKzbsgtPfJaGy55NxJotXgiIzTXPl0Zez75R6tom+tBa57XG3Oq0E8G0J3isLHPEY50u4jm9paxs7KM6Z63aqax/c/gPJ+/BB96ei1tfmYXIlELBqBTey4WISCJ/chFcAhLx2MdrMeKz9Xh87Doznxi7HiPGbSA64EnBjXjys43C/9Tnm/AYxT/04So8OHoVHv2E8ny6QaR79ON1eOCDFXj4w9X4z5g1lG6tKOvJzyieyPU8SXxkDOV9fzmlX4NnJmzC819uxX8nOuJZun7y03V4iMp44N1leOTDlXjikzV4/JO1VN4q3PfOUtwxcoFizQmh2xoGB5cQEq1yweScCgREpSIoOp2YhrD4bKTkVyMxu5xEjYXNQpGHwuPoOobEjoUwKpXEMoVJA0WMoEEKSyogscsnscsjcctDIA1sYBy75Cf6k+j500TzxmUx42t/2uABTFo0zEB7FOUwtTI5LZUXk4sd7mFUHpebQy6HFQg/19GfJL6Uxj8mX6TlvOY4dSEoi/SHkReR1g+7fTgh8+BMIhEUly+uuRylT9l26ztZ+hCDEwoH2Szc96Ghb2Q2POlwWu24R3xv7fCRwzhy+Ah6SkvR19yCI0f4ugyHDx0Sf8XrxDwi8gwIp3K16yPW4YJqeqs05nDrMO16QDqbMLrmOmLjU+DiHw+viHS4BcVjt3cYrW9aRzQ3AbSmbedSWcvquhZrTVnvvGZ9rebBep7Yz+ms109oUjHtJV4P/cs/Ha5zDsFdo5bgllfn4IYXpuGGF6fjuue/x7+f+RZXPzOZrqfhnrcX425Kc9dbi3Ankd27Ri2m8KW4++1luO+95bj/g5W4//2VuO/dFbj33eW4+51llHYppVuKe8h/r1X4HW8uJi4RLsffLcphLhFl3kNixddc5z3kPvD+ChK01SR+a4RA3v/eCoqjMkjQRHtGLRLpmHe+uRC3vj7fInTZ+SWorKxBWUUVylXydUWlxW9hJcUxlTTl5XTN5DDtWmVpGVFzyyoES+i6pJzcUs2vspTCzX66pniLX2G/9EwuR70upWulDks5ZeVVNuUSqdxiK7/19aDktmgsK+/vH0CreC2vWo65/6qfrwf0iTgwHfdP8St9tIRb6mX2b5vom3bNrtlP6WzzDvAP3k9RljXtllU5IB1bYQcPHsKhgwfFH8lW3EPiWpCETrs+dMg6jfW1Jb85TE1rDmO/FkYupzHnsSlXq0cLM4fbuIJ2ymLLrqKqeuAYMDmMOHCO1bmlNLZx/cfMZi3Zkte/1R5g9itP3RNinVnvFS3e6ppd3rMZOUVITM9FUlouEgVzkMBMzSXmIF4lXw9KkYfSM0WYdm3lEhNV15xHzR9vdW2O08JEmxQmUTvFteqay1KZqLpmoTtw4IB99tkJG3L2oaGhAbm5OcjLyxPMzctFXi5dE335pDMz1+Zao22ctd823JYUTxZXP/8A1zZMo3XcYPG24cdLPxg5nb2yrP2DxWvkcCXOb0B4/3iLa01LmBdZvMo8qfOVq/lz6VoJy+M51OI5nK/VOJFGu1b9Slk87/bK4vSWcCWv4lqXa87HcYLkV9OKNprzqXHi2qYMm7IUV/Xba5saZg4XYVp6q2s1XClLbY8ItypLpNHapLhKmCW/lk6pi8tQyxFxalnq9WD9tFeW4qp+LR+5J9tPLd2gZXEeqzpPrZ98raYXcafWT7PQ9fb2CvYQ9zMP7BfX1uG9PaqfXH7nSonvMadhau9iHVZvK7S8Wlns8onM6OG8oqxeGAwGEWYPNzsAt2/+YbxtE9FO+FDyFqrDXvjZ4onq5zGwF348DlamFn7FGnVyJCTOA5iFrqu7i9iNbmJGRgb27dun+Lu6RFh3F8dRGnJZBGNjY4WosZ/DmSxkGzZsxAsvvIBXXnkFEydOFGm0Mjgtfw5/1KhRmDp1qnjGIsru6TYLXU9PD4KCghASEiL8jNVZwL/WKhvsDtpod/Cm4w2nbUaraxbFV3cDT3rSBt8I3OsNvLDdstm1vOwyzSJArri2iuNwDtPSiTAtnRp23QbAL93it01vfW3tWpdz6xZgRRJw7TpgeTK1nfzjwoHHtgF3bQVWpQA3Ul8ed6G01D8tH7tc/zZKeytdc9m37gAepTRvUf8forw30fWsaBIoSsfx1v1kl6mFa/woCNgVZ0mjtZnbF5Cp1HXFanVyJCTOA5iFrqOjQzAlJQVvv/02IiIi4OPjg+bmZnSqcZ2dXSgvL0d5WTkKCwuRmJRI4tVlztva2oq5c+eKh82ff/45vvnmGyGWWn4WwldffRUTJkzAl19+KURNKbcTtYZa0aD8qmzsi3HBMqcFOHTkoAhbkwO4FNHm9QAqKoCSduAd2sheFLaLhGF7IbAhAVhJG3pyKnD1SiChBphDAuRP7hO04fdSGdNpAz9DG9+/GLiSLJJHSThcC4CNMSQm2UBYJTAvjURhD/BfEpllwZSPRPYtVyCDdPi+9VQG1RNYCkyMpLop70gnYGugIjhRVUB6HfCyD+BEbbqVxOnhXYBnPvAg1eWcR6JL/iTqQwC1IYbSfxlPZZGm/5f6MzWMhGkZUGAiIaG6PnCmNPXUVhKa9+k6Vk/1U3pu/3gSN67/nZ3Ap36AL9X3MV27UNlvUj+jKe0sL2ASieSr+6if1IYx1AYfig8rAxbT2HiXU/+oTWP3AltyAXcaoytJzBZTv/clUj0UH051PeYG7KG6FpO7zpfaT2PhTeMlIXG+wCx0bW1tgixgH3zwAYqLi5GZmYkmErq2tlY1vh319fXieVpRUREK8gvQ3t4u4lqZJHQsbvyQli01FrK2VqXcNorjB80jR44U4sh17N9/wFx2ba0idNtTViBo/1JEHl6Nglrl31JuoU32exKmNbTR3GlT82a91lGxfCJJWN4lodgaC/x9OQlDCYkFbfi3yIpLpXy3kkW3gOLG0QZ9hcQikMRxLAnXdyQUr5Fw3krlRtLG3UeCdh0J3EQSAxZQrwYSHip3LNX3HIVvJBG6ltK6kBj6GaktJCC/nA+EUn3hUWQ5UtmPk6UTQcIaSeI0muq7lcRvPaW9hIQ3tBr4wwKKJ2HZTelZFJ+nOq9fQgJNZf6bxOw7ysP1ZZH/KsrLfYihdvyL4l6jdk2idgeTgCVSmTNJiH5F9UeSaM0Opf5Tm18kQd9Bor0ig9JQuscpfyyJ8vskfFdQG3xJnOZQX8aQSO8hAbuLRPp2ElQXalMiteVjqnsKCeDfVtE4k4X5GY3PGDo4dlHbf0tju4cE3IfGYQ2J7RwqV0LifIFZ6Nhy01hCIufr6yuuW0RYixLXopCFKTs7W7jW+VpaWuBNVuCIp0bg/fffV+M5L5Hy9fUdwJNPPCFuZ1988UVh4Wl5a420ewlrI+ZgZfpnWJc1AQUGxWwYRWJ1Dd+O0cadT5vsYdr071PYSrLmXieBmU9W1rMkbjNoUz5O6QJJuK6hDfwqpZkWQRuaBGgx5XuB0r5P4nWjehv3rLtS3ou04d+gTT6fBIjzTSJLaAKJB19zvmco3yiq8xsq600So+lkOS6numaSeyul+ZAsolEsnuTPbiaLkKzBhZRvJNXPYsdl3EBtWEQu34KOprTjyAp8hOrhvt1Lgi3iKM0CdsmqmkXiPI94O4nXYnK3kaBdTbfvH1H7Z1E7Z5MQcf0sVM9R/QspzffUppsozR10CPBzyaepT0/xgUC38jdTvZ+ScLEl+o0/WYtEvi3msfmI2vAJ9XcyhcWQZXgDjeGHNDZfU/kTqYwbWIRJ4Jwpnq3CtyjuGbJAJSTOF5iFrrGxsR+bmprQ2NA/TPE3qKR44VqnUfw9Pd1k3bX1z0/XbAke6ONfWBvFr63savFGVejsYTNZKLbcTrdae4nWYetpo2/OVATQkVzrOHvk2+HtJ5HOHlPJ0lrD9an+NWQJ8fPHNLrd4zZYpz1t2ulTEt3errWqn7nWJs0GdTys0xyPnNe6TxqjaGr4m8P9+ksWrYTE+QKz0PEtqUKT1fVAmuyE2aXJTpg1Od5kqYtFsKamBjV6PfQ2FGE1ql9zT5VW+WrEdY0l7mSo5rdtn1LWCUj96u8fWA7TXtgpc0A/T5Gn009bav20yfvD+znInJ1GP205HPpZc5L9PKnyT6KfJ91OrZ82/OH9tB8+VOPIVPpZYxE6fkam0Ei3kdq1PVI8u4OkMVJ4vckIU51tnJrPnp/LMtSijq5bTRxmUKnEG8jaM7a2EFsV8jM9gwEGSmPgNHTdSPnaGrlMCqOytHD+NVdvsFo4HCfCLfUofqU+zVWutXKUtFxfv3aJtFpZlnK1dinpLfkF1bTKtRpGfjEpBssE6dWytD6I8ji9Fq6WxXU0NTWitaVFPDrg56SiLRTO6U11RrQ21qGB5qS5nq9NSnnWZYhyuC4lTOuncEW8cq3kUfxNdFA1mOpEPiW9JT/Pp8FYp4SJMpTyNL+BLH9DHcWLepVyucz69nbU0dwa26gP5HKYkr8WzQ11oh8aG6kv1v3U2qbVJ8I5XmuTqIPTk18NE9fC1eLVfOY8tHZooxjp8K+jMeYNZ91PA88XpalvaRb5eN6UvnIaQ//5JIpyuQ6Oswpnmtuo5uXretojShs5XMlnbpuarl8/1XxaOUpajZxHrUPLp8WLcq3KEmmt81rK0toh6hLhWj7VL+I5rZJO6Q9TS8N5OZ0SJuLUvFp+Mf/mvU7XeiWv0ifOo6bncrSyRF6tLKVcc9vo2ix0Bh5wWrytM75Hx3ujUO/jjdrsbCWc2FBfp06KMqHaJIsw4VIDqdC94QVY65mFHUF5ws/pGptbaMHUoIUWuJKXNiBZc1p5XEeLyYCX9pXhwb3VWB7hBpNRiTdQfFVKGhIvvhyJf/uXYPyvL0JtZ4eIb6wz4M0debjo+2ToxsehoppEjTuotrO9owc4WKMasMDR2jTRFtEmUvpmWsCiHlpUzXS7rvWXBVtsZLFYLf000Rht2rQJDg4OZImSaIj0LDZNShpiQ4OJbscb0NLcJMZACVfGiPvO/joTj4UWp8ehQ8q7hXQDjKOVcehpofG22ih8e89C1tLSSnOhjCO3h2//77v/Ifz5kr/h2muvw6X/vBwREVHmfmz2TsF/ZgRgiW8+PnFMwj/f3yFEwljHbWwU6QS5LtrUzS3KeDTQ/IgyKNyShjY1HTqLAwKwPj4e0/38EJuba24js9bUjJbVb6Nr4cuoLS8SYdpcME2pGaibtQRdIREwCkuX4qiO+o4OrNLpEPjr/0Pqr/6Ihgceg4GsfK6Xx/CBqYG4//sQbA4rw+/fdcN4hzhzu7jc0NBQbNu2VfyAptTJ7a2lPjbRRlHSiDCa5ybqt2iPmAtl/fFG4QNayaes2+rqajEjc666HjMuuwbtpdXqnCj94X/p6vPV95h12bVwHzsJh8kvyuXyqG7GgT6+6VdQXVUl4vjOxRY8t8q6VfK30EExNt0P2VXlYmNr4dw2bte2bduwa5ezeOSjtJk2Oa1nE82rkk5pJ++zTbRWN27cKO6cOI7J676e1ndLMwk4zXsjjTWPs3UaLjPMYwt8t8yFqakNdfXaGq8VhoyB9iiPLdff2twsDlVtPkX+Wto/1CbeG1xHE+0HkZ/HndvL6fhalKmUY6D60397ETIuvkwwndaDob3NHM8uP+MfOfI/CA9LUMPVMsQ4qWNFZYvy1Hiz0InbRmJpdSkKK+tRV1MCQ00VnTw1qC/PxKxVzqiqrER8ajYqykqRUVCGzKQ4OrXodFLzpueWYeTieEzeko4vHVKxxS9HLKypI19EV1cHXvtuFVJjo6niauza4ojGpjqRjwXn08BydcqBUTueRkCat7ncyuRUpN92L5KuuA5Jl1+LxD9fBgOd+Ny2tno9dOMSEVDYhp9MiMdXPtV0ErK5q+Rta0wEupKA+kAca8zGoYpoVOuNWPDeq2jr6sHLk+aICc1N8EZWtDfyikpoDIyYMccRS7ZsRVl1rbkdTF5oVbRgV61ahS1btoiwhposBMRmQF/XgMSsYqxcsR3T5uzAGs8obPSOpgmhTU0CnJsUDq/oHETHpWD3tgVoJnHn/NVEBi/eFurXoZhV6G7jBajU2dBQj9tuux0jRozA+PHj8fzzz4uNyXEsVn/5y8Xw8PAg8d0EL29veOzzMOfdFZSOutYe7E2qxu6ESqz2yaZDxIh1y5ahMCsWYalFiE+II4u4DlklVVgy0Ql5GRlYstsT6SkpyExLEBtAKy+loAAbk5LwJdXzFfG1rVvRRNYZx+lrarEv8TVMWbUDN783CX0LX0RNQ6s5by1ZPtVT5mDhokV44MEHLI8rOI76nXT3/Uh7dSRK1q5H5nMvQU+LnuN4sd4/JQA9Bw6jqbMP3fsPYfSqKHNe5t69e2mj1WHhgoXiROf5j9y7EwXFJSgqo3WbkoPi/DTEezkip6gYdfpyZBVXoKi8AuWUfsWaTVi9zpXyWea7lg6ryb//K2poTeSGx2DNky+iTrRZEavYdVtQEByGDO8gFIdFI2r5enNeHrOEnHrs8MnFZrcwBESnKO2iOBaq9u4j8JjrCsMHY9Hu5il+kBN5qd0lVZV4NmEvXk50w38TXLC2OJn2olIns5DmoJUsnRUrliOADh0RXpKJ4rZDcHbfIw5yrSxeJxUVFVi9ajU2O24W4fUNZJCEJGDO0g14euRodHXSftjkCLfYfCxd5kjjreSva2hGU/EeHGkOQU/FHpT4fI0GFrzqIszdFYrIPQuQV1glBOtzJ29sdqI1Ex9F+RoREx6GyhQPsX/GjvsAXQc68NnnXyM9IYrGRo/cxBAkFNSgig7DvJJKpb1MWpslz76E9tBwtAeFIO1XJHRk2Wl94Xm+7dZbsdVxL0a+pUN+fr6IM+dXyXvK2m8WOh58Q40BO9Lc8UUw0FbkDn15DoXXYMv8zzBh1MtwoVOhKsYFCxfuRIjjHOxzc0MZLW7OywxKKMRzc+OFNTdtexp8YwuFcu9euxbz5q7AlN0ecN6zA1t27cP2PbtowJW8hppqPO5ahuCaLrHhH1tzM1YEzzOXWxoegfKvvkOjswu6MrNQu3wV9HQCclyriTrxRTKiKjrxi89jEFLSAbf4YnPe1gYSuu5UoDESx/RBOFypCN2eNWuwYM4STNvthu0bHRAXG4op89Yi3scTL3w5HU4uqVhEE7do00ZaOEpZTD45SkpKxEm6fft2JbyqGmWJAXBcPAOrly3ARgcP7AvMxcvvf4KMGDfq0SGsWuyIvu4qpJaVYfmcr+Hhug6NRsVq4Il45plnxDuFL7/Mf4yG/9VIr7lOFoQrrrhCWC3r1q3HPffcI+rnOLYc//PYk3jxpZdx9TXXibAdTjvNeaMySlDf1oupLunYFVuOb3ck0a2lCTMXr8P+7lZs37kbFbUFWLr4M6xcuxzB6wIQn9+CxVt3IqG4GNlZmYjKt/Q/LD0DfUcOwyUjlzZELbaSGDaqbTHqG7A14w387ck3cenTI9GcnSjmX8tbQ+yNTcTDDz+M0tJSMZZaHN+qOJFFd7CnF0X3PYyM//ktasga4TjeuPd9FyDGxT2xBt0keB+uiTLnZfIG4DFh8vxUkzA4rF+BNmMx9gVF4+tvPkOc517klBqwz3EDltPcRTstxjTPRHyx0wv+gTFYuyMKi1a7i3ZymSZq06p7H0HYOgcEzF8p6merTNRJbdr48mtoNxjhOvYr6NOz0N3ZadUm5fBy9s+juwwD8kvJaNDiqIyG9sNIuu8pVL7xDoxffyte49LyxtPm92uswPPpnnhn9Xx8/O77qCMR1+ILSOi4n7wu3N3dRZihLBfu4QlwcHam9aTWw+F0MPOrYNbrtc5EdRQZsGrDRrH+56/ZiN07XOG4ahbictT+EY2mRjTnbgcqHIDC5dB7fgxTYyuqizPh4rYLXvv2IjwyGJuc3fCFw24sdt6FjPpuzBk/D93U9+10YC3YFoPpO52xgA43F7IsvelgnLVtA1n+DXj7SwfEBroiPi3fXCcLXcaf/4HcO+8X45f689+hRt3rPKb8jxmmz5qFL996C4mJCWQtWsbteOwndPUGE+7dNR5w1aE5bTpqi8Np0PSk2gXiGY/DGgdE08m4aN4apOWXw8vDS6i5VlhlZRU+Wp2CJ6bH4cV5CciiNNy4gtw8lBSSBVhQhPCgQFrkJSgoUqxILW9CURU+Dc3HzVNvx33LrxUnmBZXkZqGhEuuQNxf/on4Sy5H7K//DD2daBzXxkL3aSLuXJmH33yThEluBUI4tbytDbFAH1mLzXE4WuWPI3R6sUVWQLdcJUVlyCoswrZlS1FnqBSLtyQvFYm5BUiJCUNhSRlyaVFpZTF5c/Ipwqfk5s2blTAaA3cPb1p4tXDbF0QnbjEKi8pRQPnZonV390QNb2wy92Pj0hASFoWiwjyzgPI48IvUfP3UU0+JCeZ3ELU6mYGBgVhLB8bMmTPFrbMmErzY//6Py+Af4I/HH38cL73yGtXnYc7nGJiJ5LJG9B06goLadoxcHQ0TnagmElk3r0AY6NaoqrqC+lANn6AI+JPlEhkcgEKy2svIgq+sKCfX0g4TbZyt4dHozbyE1kAIvNPSzHEiPt8ZEyOKMC+qGHq/51FFh4o5njfri2/DQJZdbEICGmm9aHF8cOVcejUqdf+Ljj2uSPzF7/sJ3UPfB2KhZz669h/GeMdUjNsYaymX6EwbnF2eFyF0dG2k/G50GNcZqxEen4JwH1qv+kr4RcSjuiQLCZlFyIgni6y4HNFR4SgmNy/fckhWET0/m4zEzVuR7+mP7/56NYxkZWrxPS3tmHbTrchwcsOcex5AY7mlPzynR48eQ1FVm5hPBrdNlEvrT8NhukVl8O2dlreWLPik+ASMH/MxPv74Y4wZM2aA0LHLdbDAi/CqChJUPa27InM6JgtdTk6OzXolsfdwp/FpQEZhCUrKy1CQX4iSYn5UZdmTRrpVjV77NjK2f4iMbR8gbPkrMJGVx3VV0trVk1tTU4CQxCKE+nmiUl+HyABPan8jvKn82poylBXlI5vaVFZWhMK8fESF+CO/uFCMQVVlOeIjA1FBBpZWpyZ0+Q8+JsYllQ88s9BVCwt28rvvYvLkyYiJiTGHn4j9hI5Zb6hDpaEZVTW8QC1iw2TTkV1+fmUdbs1K6kB2Qbn4wom9+OOyqgShmf4kOiZaZJZFU0UiUeLlTfRR6EHCobaFF2NLXQ2S8ivgGl9CG9EyUcxa2sD19Q1kPSrPJPjaOp5pJDGyDTseNYHWxmMoyO8cOjk5iQXAz0k0i+1kGBsbB09PL/j4+sLHx1eMiRaXQ7dnAclFiMkuEwxKLab2989/qhTPViozqP8Dx7KKDjYTxZfQ2qmxsvbN5GdA4VEwkGVepY6jIG2+SjcPGHh+d+xCzl43uiVR1h9bQv4J+WJcmPzLf3S6RZCY2rOroSTPRWNzEyrp4MuNjEVLR3u/eBaf1vZ2pHr5o6W1DUYrMWI2qO3VyOVpcdbhzH7tp3EJKc1FSnKy2MxMa+vX2kA4mX6fzno1mmgtaqyziLyZ4pbaJux0SG0t43VAxhGPS+leslit+shjzGPB/T6V/piFjgdDUvLHRn5exL/Yn8/kja/1x178cKORDsLTbW99neW58cnQLHT81VdJyR8b14dU4qdvB5y/fMMPTe095v789CVv++mGEbdGVp92ex+enWgu42RoFjoJiR8jNkXWQvdO6PnLkcHo3M8vtijQvRxgP90wolOc8lyS8UPb+zB/feMUIIVOxVH+91sSPzr0E7q3Q4j9N1Q/vhFsP/xc8nhCd7y+nE3atOOEQvcmzcMbxJGq+xbRJo0UulNAckkz9sRUwymyElF5DcipbsOWsAoUGjpEPH9uSuLChrXQXfxVGV4dH0EbLRgPz0+nTRaIe+em4dovYqB7NQiVNU24YWoybp5MfqtNd045mNBRH1hQ/LOaziojCloRVdifAdlN+PkH4eY2H0/ofv5eKDKKCuEYlIXxW5LhwX9zIzkXutf7i50UuhNAE6+1AaVY5VuMa8YFYMTsKOxL0uP2L4Px5rIEVDd2Y3OI5QVmiQsX1kL3ly9L8MwnYfj7kkJcOdoLFV2dGD03CnVpBiF0qfm1qDW2Iavh4PCx7gYTupeU9w7PNv7wfhgumxiLX4wmYXs3FD8ja4xx0WfR5jYPJnS/Gx2G5LwC6F4Jgm5UKH77EZXxGo0zWXZVNcWKdaemlUJ3EtgVXYWdUZW446sQ3PRFEL7ZkY1bJgXjRrr+ekcWbpgQKIQuPKdezSFxocJa6H71cQqm7i3Ff2YmYKFvJS55LxiLPSpQFF8jBOVTx2x8s6sQ43eX2r2dOic8KaE7iiOD3pwM7V3LfbNTcPPURGyLMSqHwRtBIvyEQkdpiyuKyB+Mq7+MhKmuBHE5+SipIIEja+4nNN5O4dnm22ApdCcBQ1MP/j3OHxO3ZMAjUY/FnnSCf+qPyNx6eCcbcN3nAbiexG5fovJ5d4kLF8f9MYI21y3Tk/Hzd4bhszmNJyF0ro6L0dDWge2OG6GvLsV2t0CsWL0eft6uyM7LwYZNO3BgiPTu39/E46WV2fDLbILuRf+TFrr/914Yvt+dKoTs9ZUJeJHurHTPB6G5ng4VFrc3QxCXnU+WtTIXUuhOgKTiZrR19wmrzZVOalPbfqzwKcZkp2y09RzEw99H4K5vQnAb3cZ+tzMblQ38j1kkLlRYC93d8+Nx7fRY5XnQWxSmbjDxUJwtOLqd0r0agidmhOPqqbRx1QflT66Ko3RqWk6npeVytTC+HqVec5g5rZrmnXD86v1QXPc9lcv1qXX/5osopR6Rnm7vJpGf26daNicjdLEhPtiwfjuc3D0Q5rYdaxwcsM4tDNt3bEdqSgxKq2tg0L4pcZrgen//cSTum6l8sJDbwziR0F08LgKPzqOxV9NwnwvKirDAPV0ZI+rv5uAsdayk0J0QrvF64V7/eSBunhiEJV6FqKzvRkhWHbIrW7GJbllvonAWvtAsE6LyGkV6iQsT/Sy6V0IwfmMsnp4Xh3cd4vHf70Px7q5kbAxNwRznZKxwTcXMbfF4b3EERjgk4IsN8XhlTiTe2p6Ezx1j4RycitW+GVjjl47X5kfjttlxWByQjHHbkmjjhmK9fzo+XxuHee7JeGpFPEYsiMfra+LwrVcSPnVNwp/eD8FzmxMwfl0cnpoegQ+3p+LexfEYvSwWX3kmYdLWOPyd8oymuq/9VLUyh9kzOt2zvsKK41vRK76kA+A5PxF+MhbdtD1k0alpfv9ROJwj6VZVey5HAhcvLbqTh1+aEd+SpfbkrChcPz6QLLYuZFa0YLZrPu7+JhTZVW1YThbeVXQry/9WMb6oSc0pcSHC9tb1J8Q/fByOn48OE9c/fZfCyZr4v4/D8LtPwvET2pA/pfCfkfv/PggTlttP36M0lO5/36cwvqa4X5B19lPhp/RqGb/+MAw//zCcNi1tbPL/4aMw/JL8HM/83w+oXMrzc36Qz9Yb1cfW3XzvDPz1gxCR5idaWipLWHWDCd3LgWrI8MCJn9GFoKhceUbH/j9R32tr+fmc4udndNtDyaLjPpNfCt0JUEW3otN354ofH+paevGnt/ehqeOAeK3k3m9D6WTOQAfdwl4x1g8HDx1B1/4hsuklhiWO+4xuuFC79bXHwYSO+UogdC/4n3vyszqrNtsVOuJv6OBIL1B/dSX/L1nM+REAWXPV+pJ+r5hIoTsJuMRW44pP/JBW1gIDid1934bhhglBaO3qQ35NO15bkoBHp0cK8ZO4sHFeCN3xeDyhG6YcTOiY/4+YWlAorLdJ21Pgk5ADn0R+j069VVcphe4kUFXfjaTiJlz+iS+uGx+AuyeHimd2/KoJu1d/5k+3sK3o6JXW3IUOKXQnwVEhuH5WGu6eEk+CQ9YWW5jsUt1sbV06liwvFiIO4/SaOwiPJ3SC/IMDP5tjshXHP+LYpJFCd5LIrW5DSmkLUsmq0yy3a0n03liaAM8kPWqbe+W/jPgRQArdSfD1QIQ09sA9Vg+/9AYsyGyAV2w9tiQa4V7djllbUlFu7IBPQy/+8GoQcjuO4PO1aRD/pM5OeScUupOgFLoTgMXLWsA8Eg1YH1SGtf6l4pY2OFOZBClyPw5IoTsJvhWMd3bkC6ttzJ5y3Ly1GOv2luDxNQX4cHse3lqbge92F+LFVTnC+hrvUgrdq4H2yyJKoZOQOMtwYKHjX/LOV74R1F/oXvK3n24oOVK9NbUXdxLcYS10P7C9D82VQichcdJo7DyIlIqO85fl7Thy1HL3kVLWbj/dMGJz10G1tT+8vYXGHrWEk4MUOgkJiQseUugkJCQueEihk5CQuOAhhU5CQuKChxQ6CTOam1vQ1t4ueY7Z3qF84Vpi6CCFTsKM7u5T+yVL4syAxU5iaCGFTsIMKXTDA1Lohh5S6CTMkEI3PCCFbughhU7CDGuh6+7pkTyL3L//gDryUujOBKTQSZhhLXS9vb3qlcTZQGtbm3olhe5MQAqdhBnWQtfTI4XubKK1VQrdmYQUOgkzBhO6Y0c6ERIaiupmJf5InyXdidDW1ISqKqPqkxgMUujOLKTQSZgxmND1dVYjLikRHR11iE9NQklRFkLD/RDg5QvXnTvBnyfd6xGAsNgMeARGwz86CbllVUgI9kRuRhoiI5KVgiQGhRS6MwspdBJmDCZ0B9oqkVNQiDpTBfoOd6KyuhThUSGIjU1CcGCcSLPPOwB5JZXIL29GfkMXfP38Eey1B1mZ6QgNSRBpJAaHFLozCyl0EmbIZ3TnDlLoziyk0EmYIYXu3EEK3ZmFFDoJM6yFrqmpGZ2dXZJniY2Nlr8fLIVu6CGFTsIMa6GTOHeQQjf0kEInYYYUuuEBKXRDDyl0EmZIoRsekEI39JBCJ2GGFLrhASl0Qw8pdBJmSKEbHpBCN/SQQidhhrXQ1Tc0iH9oLnl2yOOtQQrd0EMKnYQZ1kLXI79eclYh36M7s5BCJ2FGP6GTLwyfVUihO7OQQidhxmBC19tSjpbOThw42IOwkBDU5sXA1FSPlPwqFGYkgz8ZmZUcj/quI0iKCkXPkSOICI9CT4sehZVG9B3oRteBXnS1NSK1QI/c1ATUG8ux3clHqUBCCt0ZhhQ6CTMGE7r9bVWoMdbiUG89jqIPpRUl8PXagSBfP4SHp4g0ofGliPYPRmpiLKJzDRTvidqaAvhHJ8N9rwt273VFWHgQjFlxiIwrgE9YImJDIkReCSl0ZxpS6CTMGPTW9VgfsrKyYWxuw9FjR3D48CG0d3ehuMqEtlblT/O5uwfjwDGguKAAXfs5fR4OdTfD2NqLhoYGNDc1A0d6UVXfQZu6A4d7WqA3tYi8ElLozjSk0EmYIZ/RnTtIoTuzkEInYYa10PX27levJM4GpNCdWUihkzDDWugOHjqEgwcPSp4lHj5yRB15KXRnAlLoJMywFjqJcwcpdEMPKXQSZkihGx6QQjf0kEInYYYUuuEBKXRDDyl0EmZIoRsekEI39JBCJ2GGJnRHiS2JDmiK3yh5ltiW5yfGniGFbughhU7CDE3o+J90Ye0fgU1XSJ4l7t/xgBh7hhS6oYcUOgkz+gvd/9ndkJJnhvudHhRjz5BCN/SQQidhRj+hW/1bwOFShRvtUIs7lTT20p0o/rhp/o5mh+so7DJgwyVKHLsU1+xwE7D+L+T/myW9bTlMc1kqTyaNvXQnij9Bmv3b7xVjz5BCN/SQQidhRj+hW/UrEom/Dm+u+g0O1Yfi8KqL0FsdjAavUeitiMVh1z+iuyYPHYZs9JRuI8Ej8bOXfxhx/7a7xNgzpNANPaTQSZjRT+hW/A8JxEXDmyt+gd6meDStvQntEa/icGcZTAGf4ajH79BjKMGBhlj0dqeSINrJO8y4f+ttYuwZUuiGHlLoJMzoJ3TLdcDa36v8gx1qcaeSxl66E8UfJ826PwIrf0Euha36JY6uuRoH8neTcJA1upKEmuNIDLFusHKYWtyppLGX7kTxx0+zfwvdaquQQjf0kEInYUY/oVtKQrfmNyp/bYda3KmksZfuRPGnkobc1SRyg6bTwq35Q9LYS3ei+OOn2e94nRh7hhS6oYcUOgkz+gndEhK61b+UPEvcv/kaMfYMKXRDDyl0EmZoQneIeJSE7ujKn0ueJe7fdrsYe4YUuqGHFDoJMzShY/C/jpA8ezxG1CCFbughhU7CDGuhkzh3kEI39JBCJ2GGtdDxZmvv6JA8S+zs6lJHXgrdmYAUOgkzpEU3PCCFbughhU7CDCl0wwNS6IYeUugkzJBCNzwghW7oIYVOwoxzL3RHsDKoFom1+5FUSpv96GHUdR5CjkF5flXQ2Iet27PpSvmN8hj9l1N3AF09B9Gz/yAam7pFuKmhU/ySmVPWKvwplV04tr8PLQcO4dgx9TfOw4dg6j2KOlMXDvQewLbQcqx0K4RzYr3Icy4hhW7oIYVOwozhIHRTXcqRXVRN18fgk1CGkqIqoLcZO2KLcbjagIQo8hNCk8uxN74YaKjHnvgKRCaVwSlUiduX1Q6v4Erk5hrgVdqMpd5lCE8sQVhxK1x98rApohjLYyqQFV0Kl3gT1ifWYUtQMQ62t6Cijd8iPLeQQjf0kEInYca5F7qjqO/mP/t3DPPcS9Ha3Ipjhw9iwvokHDvUi7XRRhTn1IqUq1wKcOxgL1aG16K1thF7kozIUC247zZlo+XgETiEVqOqsRtLA6pRVGREkr4H+xJNcEszocPQCN+iDqSVtqI0vxZemQ1oa+sU+c81pNANPaTQSZghn9END0ihG3pIoZMwQwrd8IAUuqGHFDoJM6TQDQ9IoRt6SKGTMEMK3fCAFLqhhxQ6CTOamlvQ1d0teY7Z0qr8qCIxdJBCJyEhccFDCp2EhMQFDyl0EhISFzyk0EmYceToURw5ckTyHPPYMevPcEoMBaTQSZghf3UdHpC/ug49pNBJmCGFbnhACt3QQwqdhBn2ha5cZYfwSZx5SKEbekihkzBDEbomou4k+Avir1S+SJxmwwXENhtKnAyk0A09pNBJmKEIXQtxoLBVN+jgnaSDV6IObnE6ZFYMTHNiSpwMpNANPaTQSZhhT+j29+ngHKnDxkAdRkzXoa5VB0OTEsfCxwJonf74lDgZSKEbekihkzBDEbpmoiJMvSRyMfk63D1Rh/u/1uFOcl+er8MdX+hw42c6/Oc7HfL1OhQSLWJ2PEqcDKTQDT2k0EmYYftjxI7wejw/xwN3T3IhcfsLcqt0eITE7bYJOuTQ9VNk4d00TofQTHuiZo8SJwMpdEMPKXQSZliEToeCGkWcWMg86RY1sUiHraE6PD5VRwKow066nX1osmLpvblEB5cYW1Gz5k+IS4gSJwMpdEMPKXQSZlgLnWusDqmlOtzzpQ4znHU4clSHzzboMHmbDhUmErfFisgxr/mExDDRnsAx3yJKnAqk0A09pNBJmGEtdLvIYjtGLj+Xu+8rHV6Yo0NKiSJoJUYd3l6mo1taHW6n21hO75FgK3AaXyFKnAqk0A09pNBJmGEtdPyL6shFOjz8rWLVmdp0CMvW4R0SuJfmKWLX3qM8r+PbWCl0QwcpdEMPKXQSZliErg/hWbMxweFb3PnFbWjs+B9c+p4OXft1eGuJDu+v1CGcRM8nRbH4QjJ1WOZpT+SYUuhOFVLohh5S6CTMsAidgn0JjbjhU7plLdWhoV2Hp2cor5awNce/wDpF6HDTZ4oA9vTZEzn+EWIbUeJUIIVu6CGFTsIMW6GLye9CVO5PcO0nOtz6ufLDAwsd85bxOtxF1tyWUB3W+1uL20PEvcReosQPgRS6oYcUOgkzbIWOEZCmg6FFB39yv91OltsBHd5ZrsMDJHp7Y3XYEGAtchJDASl0Qw8pdBJmWIQunDhapQ7HjumwxkcHzwQdAlKVZ3JbQnRo6bIWOSl0QwUpdEMPKXQSZliEbi3RVsROhhJDASl0Qw8pdBJmSKEbHpBCN/SQQidhxg8Tup8THYgSQwUpdEMPKXQSZliEzoVoT9SYt6j0JkqcCUihG3pIoZMwwyJ0EucSUuiGHlLoJMyQQjc8IIVu6CGFTsKMpuYWErtuyXPM5hb+yrPEUEIKnYSExAUPKXQSEhIXPKTQSUhIXPAQQichISHxowBZddls2UlKSkpKSkpKSp5XzFbNOeUx3QLHYMwnzt0cjNnr9iE8MRfxmaWITS8W5Ou4jBKM/eI7PPT4M3iQ+N+X3sCI517FE8++jAf+8xSefO4VODi5I6ukFglZZSI9541JYxYJVysvluI4Pi6jVJStUcsTnVqEqJRCMyOTCxBBDE/Kp7ZZGGbF0MQ8hCbkIYQZn4vguBwEEQNjsxEYk40AwSz4RytkP4cHxnKaXOH6k98vKgu+kZnwicwYhJkiXpDTWpHz2qN/DJUdrZQ9gNSW45LSaOVz3X7ROXD1j8MurygKy4Z3hNIm7/B0bPNLQ0jQUuT4XQNvvw3Y6psKP7WtnG4w+kRQuRHpcNy5F7uDMkV7vQIjsWGXF/ZF5VE9PB42ZYQz0/vR6yyT6/SLyoDTXn84uscigOaa2zpgjM8CA2jMPEOS4ewVKcaPw6zXBsdzGK8hjp86bzUmTlkg4uz17cwyA760tnbt2Ycp0xZjznp3eERQ22gN2M5pf2rzfnL0ozXvY14rP5y8Pu2F29IrLA2eoanwoHlYt9MbCSmZ4jHdkSNHcOQokVyGceVapP7uz8i66gZUf/E1+iqrRHiTkzNS/3gJcu+8H4e6unCUwkRea6rlmK+t/UeOWl2fAgctQ7k+avafAn9wu2zS9iunP0+9XVS2OmbHjh3DwYN92LLLA5v3BMItMBH7wnjuUrFhx144bHfB0o37sNyB4nfswZbd3kL7eP9o2mu9/2xp2XucVtVrK/bTdKGBtF5JT3d7BmC1SwT8KY/12u+/f9JUKn6RhvYOl6G0baAG+cfkwjckFouWrsSURduwKyBDnE226c49s+n8zMPoKQ645dW5uOftxbhn5Bx8NG0zZq7eixk2nL7KBdNW7iHuxrQVRLqesWYvvl2yCw+/txgPjV6JR8YofJiuH/xghYWjFfchJsU9/CGnW4X/jFmNRz5ag/98zFyLR5mfMNcp/o+0sHXC5bQPfbgKD3ywEve9txz3vUsk98EPVonwhz9cg4fHrBHpHqG8D1P5D45ehfspzT3vLMO97yq8j3g/5b3/fW7bSjUvtYXcAaR2auS2P/gB5XuPyiCy+xCV8R+Ke5za9+Rn6zFi3EbBp9j9bAOe/HQ9HqM+cV+5/w+8txT3vrME94xahPvIZf+D71M5VO5DNE48dpxOq4fn5c43F+D2N+YLo0415xSDbuL87Rg/wwGTZq7DTvcgeAXFwt0/agC9guPgF54Ef2JARDICIpPhT65Gjt8XGAOPgGiR3s0v8pTo6huJvb4RcPEheodjj8rdXmFmOnsyQ7FL4z5miOBOD4U73IOxwy2IGIztTNdAYhC2Ebcy9zIDrVyFW1wCLNwTAMfBaJ3OhfKJcgbnNpXCr7XhFGnOT+3kPq3d5o6Vm11JDG3bF4jNLmHC7R9+HFI/BpLyc98ELX0VcQPKIIPKhptVmv27+9PRhtZhtmmPR5FHrUNrp2VurcbPaixPhpx+sDz95tPMQFpvIXRT44VVm/ZiK42VKMMmDYdrbdxG8yjarvbDtl/Wfi3Mmtbh/dJoY34caml+GO2tgXNL7vvGnT5Yv8ML67a6Ijk9SxgNhw4fxuFDh4R7iF3iYTbUrHjo8BE1/Jg57DCnP6ykV2jJb7m2F2aPHEek8g4zbcIGy3NYS8N+Tqfltc7TL7+adgC1cNt4tXweI61sLYyvrcbMOq+lXVo6Je+AtvWjltZSztGjR9Hb04s97r5Y4bAb67Z7YqOTNzY5+wqt0fYb75fNu/1onpX1Z9nn1nvLQm1/WvaeReOZiqZZ65pKWkcW3bdZ8+reMu8x9drevhNl7VVobpfaF6EfVteDhQ+WxponStMvXh2P/npkoXXcdlfl3Hzjs3m47qkv8O8RE3HtUwqveXIi/v0khT05AVc/MQFXPfE5rnxsPK549DNc/p9P8c9HPiWXrlX/5Y+yXyOFUfwVdM0UfityGVc8Ok4llUnlXvnY5/jX45/jKq6P6r3qiS/IPwH/onCO03iFDUU4pTPzMVsq6S6neiwcJyjqVuu/4jHyazS3zdLOKymc+8/8lzW5zTQ+3OZrtPF7ehKuIV5HFGPJpDjRL0r/L3Mdn+FKUYcyhmK8RJhWn5JGG9cBBh1IyBSQSyLIQsjkayVOvbaK4/+0MI3Hjh0VNIeJNDZ+jSKM74HVa3OYld9emHA0P0MNH5QMe+G2lJCQuFCgGB39DQotTDHW1Gs1TktnNkxswu2xX1rVkLHk7X8t/GZjp3+5moEk0ou2qXHCHaxtljBr/4DwQQysAfkGTae0S6Qf1MCzdtXwQcoz95OppjlyhE1sCQmJH4IBBt3+/fsH8oCdsBOw107Y/v29dsKIXL5NHQf2H1Cue/uHn5hqvh/AAwcOoKenB8XFxeIfVR88ePCkWdxwEDeuPYgbiDetk5SUHIyXLjuIqaH295GkpKSk5A/jAIOODRpb8ufJ2OU7qI6ODvJ3DUhzsuyivF1dXcKAUr5GQ+Hs9nRb0qn1cdgBMvT4Ljo3Jxe79+yGi8teFBYVCWu0orwcbW1t6O3tpfRchpZPLYdJZbNRyGka6hvojvAwvL28UV1djb6+Pks6Zm8POto7YDAYRPnWaG9vR25uLrKyslBRUQHx1NIKFW3A3VuAuxyB2zcDd6i8fRNwm3p9G12zX4s7FV63DrjZQSn/lg3kJ5rjKey+rcCdVunPJ/J43U3tf4BoL/5skefm2rXA1cRr1yvjyWN9FfmZN/PcEa+nOPbfStd30tjzvP6b06wBbtio5BN56ZrLsVeXNbn/920D7qf1Y712zKR5v5bmn9cRt+cGIreB6+V4rovXxy3kv/9MjSGVfQ3VcSe18T6i3TQ2HGxe/0XjNCta3TgSEhISEkOCAQYdG1udXZ0q6bqzE0fJeElPT8fIkSPx8ccfo6SkRM1+DEePHEV3V7dIx3m7OpmWvGz89apP2foO9sFkMiEtLQ2JCYlobGwU701oec11qvWzIefp6YkRI0Zg+/btMBqNMNWbsGTJEjzzzDMYN36cMOjYGON8lrqJosxuHD16DL5+vnj11VfxxhtvYNy4cUhIVOpmA66T8nD6LsEuUV6toVbtn4LmhhZ4uHgiKzUbbU0d8PcKQEJMkhqrILcB2EZ25kYK5gP3VuI1dBBPLQCcApUDeGseMCcCuJEO+puJt5MxwIfdTXTN5AP5ATrY+YAWxh+5t1L4/XuBVCPw7k7gUjpUd1YAG6icy1eTgUfp/hMAZNcDr1Deq6keNg7uprxsALKRciuXR9dsELABYn24cho+pNmY4HbdSn5276cy7qW03Bc+zLltt1Mcp2dDhsnhnNZcH11r7X6Q+sX94Do4jMuzbhMbR6Kv5LIR9OAu4BmiZvDyeNxBbeLxuYXyiDBqC7dVjBldcz2a4cTlcnl3U5u5HVz+Q9uVNnNZXC73nw2eGynvXVTOPVwmt4fcf5OR8XUMkEO2/Biar3wT8LEvsE9PcxoF7CgHvFKojTQX2wsBUzPw/m6aDzLkltO8BtE8z0sDsmhuHqTyrqTwJZTOI1kxxrS+mvtPLo8Jz9/11L4nqKyndihtYyOIjSZuFxtq70UCyVTunTS3y/NpPWUDIeR/yYnSU9g9LkBUFbAmFogll8dAzBnVwWNxC5XDY8FrgPvL88FjwTcBPL88Fjw3HMfzz2P3ILVNu76J2vByMBBOdTqUAb6p1L9VFM/lUjoul/vDdXGYllesZ5rTZ52VNNr6voLyTqMxlZCQkJAYOgww6PhJlDX5Md7cOXOFMffVV1/hzTffxKOPPir40EMP4amnnkJeXp74udI2Lz+Bq6qqQmhoKKKiohAVSSSXDbqS0hKkpKSgoKBApLOXt85Yh9GjR2Pnzp3iiRgbafxzaHZ2NiorK4Vh2U4GmG1eJj+Z46dwn376KT744AN89913mDdvHiZNmoTXXnsN69evF3XwE0frfC0tLait7W/Q7UxbDefqeXAzLIZL9QL4NKzE6rTJKKtXnhQycsmg2kCHenQOHWZ0UAbTgT/PFfiyFPAkA+GvK8g4IKNgXhgdonSAlnYAM7zokKZDOY2MtRVkLFS0ApN8gBFkuL2yD3iRDvlrKW0QGRXjqax/0EE4l8rfFU1GHMXn1QHP0+H9Mh34BdTkcXToFrYAC8MpTQ2QQna3Lx3ws7yBL8iwCCRD4DEySL6mNoz1pHzuQFU7GS5Uz2N0nU3tWETpEivpsKfD+Q1Kl1YNzCYjNZzyfs6H8GFgcRDgRgf7OgrPo/pmUzoXaktYBmicAP90yxMlNqZep/q/CqExISPJncpYSQZBGuVnY2U59cc3k9pDxk8sGVTXUx9vJ8MmmtJOpzby+BS3AR/4UTrqoxfVwYaTkdr9HxqbK8igWVBMBg2VwQbaIzR2TjTmrlQHP2lbRuXuo/Ysp7GIpLz30JgbeoGJe4DJXCeN+1NUx0jyP0JMonkrpPoiqF13kxHkR2Oyj9JsprS11NcnySC5geqJIuPmHTJW7nejcaO+v0MGy7UUF0nXk6kNo+OAUBqzq1dSHBmGX9GcpDbR2NFYzaAxzqF5uZH6P4/aFER1uVL7ptLYONH4xZLR9iK15R4ytp6gsYujup6jNfUezbs/GZwe5PejpccG4NXUlkCaa57D16ieCqrjUTKcNtCYuNE4reL+k6F3FY3TKsqzj8bFhdahSwLwNM15M43FO9Te5dRWd54HylNK6+1Lmq+yTloPtKaup34mUru43JlUhmsi7Qka481U7tXUB0cqbxethTUU505zeDWlc2ukdLSWP6S+BFHfN1AfE+j6FurHXprHqlxl30hISEhIDA0GGHStZNC0thJbWgVbiPx0rbS0FF9//bV4ypWYSIpO4HD+KbOtjdO1oIXytbQqeYRL/rZWi8HFP7dyObGxseLny+amZsWIEvmUOpX83IZWUXZkZCSef/55zJw5E5mZGUhNTRVG2csvv0wGW40w8rS8Sn4qS73mn1Q3bNggns65uLgI4/Tbb7/FO+++I4xJfnIo+qrVT3U2Nzeh1tjfoNuSsARONd/CxTSFDJfvsa95JpanfE5GlOVUymmgQ40OuW10WP8fHXJbyMBzICPs8ywgnw7rh8iwcaQDL5wOtRF0+OaQ0eBBh+t0OkAzyYD6jAyNmWSYLab08XTYL6bwyXSYbqADeVkA8HcyCD+hAzQijw7Y1WR80GGcSwbGYjosN1L5nXQ9kspgg2I5HcaTqayRVP81ZGTk0aFdQgbUXXSo8xMZ/unsSirjSTJG9N3AJjI++ClTEtX1BpWRSm2fHUoHNrU3krr4b0q/h8ptIz5Ah7/+CBlWtATupn6k08E9j+r7loyR58kA204G0E66vpzyOFBfFtN1DqWZS0ZtFPU5iPqwiPKW03ix0RDH+ckQ+ZQMkHCKW0LG0yTq91YyWoLJwPiGwhp6gFEeNH7UT38q8yMqazKNyVdU9iYyciaSm0uGzlRq81Qaj8lkXKSTkfMp10lTOYfqWUxGh388GYBUTgb1413q/2s0F0mUlo3N9WSIzCOjJo3CPqKyc6ldn5Ix9bAzjSO1L4TKW+BPRioZke+TW0KG07IIMrrIoF5DhnwEjdVSMs5CqX1vUb3RNN63Ux0vkiHKP8dPICO4hIz4FTQvX9N411D+r6ifkTQOS6g8NpDnUfvGUPsnUnuSKXwptSOA1gIbXJevISOf/Gysz6Y19l8ymv5GYdsp3yoqW6wPysdG/tVkFC+gNkXSGppCdaVTGWMpTQQZyXPIyPKg9TaPyrmP+lZG6+YeWpvzadz9qe9v0BgW0ph9QulmU5rnaP0E0NiOc6GbEn4aSXl9qf4plD6JxnQs9SGJ6vyO0k+l/mdT/BfUjkJaVztoPYyhNRVGfd5G62gb5eG9sZzGsovqkpCQkJAYOgww6JrIoGlsakJTUyORXQvZ+OInWm1k+ChhA9OciJqx1tLcbDdekNqgXbe0NIsnafzeWmRUJGKio6HX14gncM02ZbCBaPE3ivYmJyfD3c0NGRkZwh8aEgovTy9RXisZm9b5mY0NjeKnXWsklUdiS+wKOMWvE9wetwYuyZvR1tuspiADpZUOvGXAJcuVd6n+Rtd/p4P18pXAn5Yo1/+k698tJAOJDuMEOgTvIuPqt+T/G4VfTvF/pnQXEf9B/j8vBu6lA/dtMsoupbKu3EyGBh2at1LZl5GhwO8h/Z3q4vR/WUrpKc0VFP4PCuP6LqKwS6lMbstf6foSOvA5z5UqOd3De8igosP6Crr+A9X3d6qX0/yNy6U8zMvUMjjsL0TOy/Vxmzlca4OW9u/UDo7jci5Wx0Arj/v3S+rvMjr4N5FR97M5arsp7WWU5hLKx2N4EblsFL3K/ScDI5oM5QfJ6PirVheR6/gH9YnbxP2+WG0vjz8bq5r/L1Qe+/9BLj8l/Re1h9v1T6rzcq6TwtgYupiuxRyo+djP+XgezX7Oo6bRxpifmvJPiNy3/yNeSmnGkOF1OxnPPB5cxiVqmdzu3y4gY4sMmx3E/2fVf+7bpdQnbTx/T+mfJ+P6JTKoeF64bu6nxkupzY+QkfUOGeWX0TXHX0bpuL889jy/F1O49dhwnKiLXF5j3DYxPpye0vLY/YvCtPbymniRjLLnyKDkMdLK5XHkn1x5HWhj8zcKe4luMsYQn9pHc1YNvLmD+kdl8LzyGuA0vGZ+OZdudMjok5CQkJAYOgww6OobGtAwgPWDXJ8KTyFfveIqbWkU5Ov6+lOpm/Mp16KcfmVSOapfYf9y+SfXg4cOiXf4mPwhTH5X0JZHDh8xpzl2lP+5/SnwVNOfKQ6Xdtghj+kpj6vkOaWYr5OcM23vSEpKSkqePgcYdPx0ylhHNNahTrhGcuvUMCXcyH6O5ziVlnwWauHCVcvU/OY8Ik4t3yb/gDD12lKu2kZzGqVtIlxNJ9Jal6GFCVdJp8QrbRPhVAYbjwoVQ7KejD5L2BDSptwGK1e77k+1PcJlA9U2/vQp6uVy2dC1DbdyLW2xZf8xs98PC08UP4CDjBnXK66POyb923a6HND2Qdp24j6eTLsGG++ToFqudTsGbduANpzafJ4yRbmWvg1oI8cPaJNGyjdoXH8q5Z7iGNqUrbXtxGPQf8zs8xTbYs3jlDtY2/jGVbk+mbadBkW5lr5Zt8d8bbduzkM8A+0arF4t3NLGwebk1MbMus8nxUHaxfUOVtbZnU8LrcfMftu0MWSXeAbaJerlco/TNiVssLHpH26/HxaeKH4AB2kX1yuuB7THmoO1eSBt2zXAoDMYasVnOxTqoW9uJrbAUGuEvq0NhnoTDKZ61PA1hYl0tVp6A2pt/FqYQipbjRPXZvZPb806Yy0ZWQaUlFcjt7gKxWXVqKiqgamuVqlr0PyWujTWsv94bTOH16KFyjdS2oiCGnhnVyOtzIAmUxNMRuq/OR1R6w+PT2UlKkLCUBEcSmRXua4U/lCUBwShOjcPtaa6Ae0w1RnQ2WSk8muRXVKD4IwK+KdWoIH8DdQWvZZW5Ovf5zoqr7GxmdiistFCk4Hy60X7LHmOP+bmPtn4NfYbM3Nano/By+XFxoYyk38OZ8N5YDrOP1gZlrqYon72D9I263LstU3ktfKbSeHc1kZ+WtuokjZWI4e196KxpQ2m2hq7+az9lrZR3bVK/eYxs0qn9bmWxiMlJRUhIaEICw9HcHCwYFhYuPhHRfzeqkhnk5/XS15xJQIT8hGYWICQlCKk5JcjvaASkeklFJaP0KR8sWeM1A6Rz7atZlrKVtpr29ZBaFOehUrf+NpE/WulMc0uKUZ0Tg7iaB+kFBaghYWI1oRIbx4zC7W51Nc1k/Y0w1hZBqOexr+J9KeunuL0SrpB20CkfWCkemoTk2EIj4KpuITycp32+8c3hYWxscj28UGBnz+K/QNRFhgk9m+Fqwdq3PfBGBtHdRqVMVLr1sYwOqMUAYlF8I4twL6YfHhE58GT3JDkYgQm0fzkldM+GHxsTaSv/DUA3iONjaQ5dG2OtxkjMT52xuyk5nOwMRssXORXylDmhbSH9zOdER29PTCUVyA7NBLFKenidZbWznZxKFmXobWNr/mLBc2trejo7kZVXhGyQyJQkZWLts4utLTTPhP9VubXTNE20kR1f7KWtDQrr9vw6zKNFMY08fzqbfNR3bQHWBe1vd1PKzk/kW/wRVpzf/uPG7e/qbYOJfpqVOn1aKTrwceMqY4Z1c3awvNaT3PMc8vva1unPdkzynY+hb7SOcAcoK+Dto3zq20bEEe0bYfZb8nDbTDVN6KW9mJtXQPV39AvjZl2+mQv3EKb/La0yifKslO+1j4tznbMjktzeZSH5qgqJhaVgcGoUs9zdquCQwQrAwJRTdpSy2vOth3stwoTr5y1dKK9rUNcm9PZa5tNWScMp/wDDLqamhroa/SooQTVtEj6Ph6DvjEfwJiZATx8J1p370SjszMOPng/jGlpIk0NLWpmQ0MdfF02wDMsjSxH7hwZRXUm2ph10FM8L2gWKxYzrqOO8rJhptRZYy6H35HjjVxJh9De8Hw8MysOT8+Mw1tLEvDsrFi8tyIZM5wykF1QLowug8EIY1U+tm9cjcSCKrE5SzLDsGLHTpQb+A6BSPVWl+YjISQSIaHhiKaDzmSidqj1KaQ+GPVIKanG3c5lmJbQgKr2PnT1HYF/qR6Pr38I0zw/pzr5MDCIPoj81HYD1VGZmoakK69H4iWXI+mf1yDxsn8j8VIiuUmXX4v4312Moo2bUdvRbu4n5+9oqMXO+DLoPkuCbmISrlqYjd9NTsKvvkrEvHAjpngWosVE48cGtnV7qd6qaj3aWqqBg9lAZxTQFgn0VkGAP5XXWoUjFTFis9WQwJkMZXDetArhmcVoonGqLojHiq1bUVhDm7GWxJM3ZVkmvp/6FSZNmY3IlDzasModg5EWNtdZXVOP8pxoeEbEor6J/1UwzRvPodq2GrVtSh+Ved/o4CC+H5iUmIRZs2aJf6RSXlYu4sS883owGZER4Yvp307GNu9oMnx5rZio7gboy3Pg5R2FksJMOK5fCzd3J0ycOAlzV2xDQRnlVdPxemDj10hrjtdWZVUV9LwOjXXCMGsgYywy1APR2eWopxsFbqu27rgN3A/+xzO2ONpYgp5vfoHDXp+j9yho3KvVPiv95rx8baJxigiPwNSpU8XndfizO9OnT8fs2bORkJAgDkCRnshjxNf87iYbcf+84l/497XXY9u27WJcmK6urrjx5ltx8d/+AXcPD/H+qZaf62xvNmGDZxLumOSBgEyDaGuuoQ0Vjd3Iqm7F9qhSPPytF2LTCsmwJwOExqmiMA3rl87Ft9/Pgmd0utiHfIgJI4LGj8uuo7FvaW1G5O4VmDR1JQpqTHRwt6M8O0rMu9HUSGk4fa0Y+zoed7U/lrFU5r+eDpfFAf5YFBGBLaQZi8mdFRKCxZGR+MLbC2N370ZVVTVqRT6aDyZdc15DbRPqCrzQ7HcHekO+Q6GPE6oDdqBv+Ug0z3oGteUlqKH9qI1nv/mk9tWT8Wh4/QMYdrujnm5C41NSkJGVhS7aN41kgFSLPaXWqbbfSMZE0IsvY8///hJ+v/0TIv73D0j8/Z+R/9DjaCNjMOWFV5B457205+vFWuM8TG1/3j8lAEu8C1Hfvh/7Dx5BW89BJJU2YWtEOV5bHo8xa6PR3kTrgOtT69TGjNeCs/Nu8TWA8vJyLFiwAJs3b0ZWdpY4pIU2iz6ScUA3ahHezpjx9ddYsHYHCqpNyh079Zv7xAcMv3pirC7Ens2LMHnuEiTlV1C88gsEz52eNMHI+5ddLr+6Sqy7rOQYBIRlkMFFRgf1y3o+NfJ47e/rQ8A3szDhN39B2PylqI5LQbaLJ5Y9+SzmXHsn6vNLUEfaaJ2X228gLdnf0YUtL4zC5MuvRqLDNugT05GyzRkzb7kD6x5/Ae1GMgb5fBB5LHWyq/xlIdANTCscPTIQlZSCzIJSJGXmIyolF0VllUq7qS6lTj3pVrVYq2Z0t+FIWRkOUtus0UwHLa9Hs76L8aYbIhqjOjo0XYrS8HqKJ56Jd8HT8Xvwfqo3Aktz0EjnEK9hrT7rMeMxLSwshAPpIGuAD90ssCawK+rgtcNpqXx9RTFC9nmiQE+6V5iE8JgoVBporal9sbRLIc8bl5ufn4+U5BRR7m7aU6VlpaJeLU99owlhzisx6auvMX3hGsRmlKG2IBEr1uxCgcFE52YDUgM9sHuXG1x9QpBbSoZiTSmCfd2QWUoaqq0DKo9pJOMtNSEKwVu+hiFxNSoiF8B77XgE7F6DwN2rELBrBfKzUoXmcL/qqovgtHEVYnPLheFcnhOFFdt3oLSWdJv2US0bg0UpmDz5C3w1fTHic8pIk4xCi0ykT6L/VA7rPBuR5Tkx8KCbAL2pGc21JXBcuxkhmUrZlTnx5HdCkZ6fYlF6KkeMFdXRpC+GX6AnssvJsBYGNbl0czFgnfNa4/1N85X37EvIuvQqZF5+DTL+fiUy/nq5YCaFZfzxEhSM/gSGNkWbtXnitcpzzYbbhAkTMG/uPOzZsxdPPHkN7rtfh6ee+hWdDz7i02nKurbkU7RMaYO1pom5F+Q0XFf/Ng8w6PhfjvLnPmrIrTfU4Tm3SXjW7VMylEz4xdyDmBl+FAdSJqB9iw764ihU15JRQGlZ3BNDvOHjHwI3EqT0ojK4blyDuXMWYNp3cxFIh9yqeYuxdPFczJztgPCQvfjqi0nYRQe3gQ7bGqqTNxzXzeUZDTVIzi7F9B3peHFuHFzC8rA9IBdOQbkYuShehDn4ZImNx5ZpdVEWts75FnNX70B+cR52rZyPT7a4o5gEf8usiXj7o6mIjIqF50I3OLk4w80vlQw9o1qfQgPVX0HlPeJShk25LTh0xPLx4PKmEjyz4R48tOo6rAyeh5a6FjFGWnv58CiNiETl9DlookmqWbQM1dR344bN0C9bjbJJk1H5zVQUb90BPU0w5+P83O9WUw2c40uhG5eIXVnNdNAZ6ToOv/4qHq9sykJoaSdmhxjgkViCJqM2P0qbK6r4yUcy0JdCAkVuawzQEIpjNT44WumHY8ZEHCoOhr4kC9V6umurLILzoumYuWQDsosK4LlhCT513AOnrY7wislEcogXdjltxgSHXYj2ccasrXuRlxmLyZ+MwtertsLHeS1eeu0jeHluw/dzZmLWNxOxapcXammD1dD4ae0SVOeTD42tZDSWlpaIRVdEhh0bN1u2ONJGq1P6QwvUZKxGgIsj5ixYg/TCGpSmB+P7bz7C2x+Ox74AH2zdvAeLvp2AD8ethI/XRqze6w/vHWuwlcbbec0yfD9tKlY47ESUhytmvD8Frnu24dHXXseK3ZFICHbCe2+OxHrPMHi6rYV7fCEayXgXc8f1i/bWiDt//pfUt99+O/75z3/in5dfjscffxyG6nJ1JfA5QMY7HXxKP9nA5faTgUAG8uTJk3HllbThMzKEgM+ZM4cO5fl47rnncPdddyM7K1v8zC/6LPJXCyENDAzEAw88IMbhscefxG9//wf88U8X4eZb7xBjNuKpp7Bz1y5x2Cj1Kvn5BiQgIR/fbk9CAxkQs92zMcs9C9NcMxGSXYuO3j7sCC9CbhHd/JCxXpkegFlb9kBf34ymlnbE+6/HOjIg1346EzPmfoelm/2RHuuLL8Z+gjETv6O14AmP5SFIS/XEnBnTMHvqRCzdtQ/7dn6LRctozKdMw6J5U/HdCgcUk3ga9Ja2sWsiQUzIy8f0oCAEFRejiAyWJZFR+I7uajNJ7GIqKjCGjFav5GSaDx4XbU9V0wHagLTSIGzLGont/u746+Nv4l8vvIO/jXgd93w0Ga05sTgQ5Qw96UcVjZuST51PcUDS9dtj0RUVhz1enmJ8C4sKER0dBX9/f/FUVKvLrD2Up5aEOeCFl7HlZz9Dweq12N/ZieSHHkXmE0+hPSwC2b+7CNkPPyH2fDXNu1aGgYSX3fu/C8D6kFI0dR6g8T+E3r7DaOnqE8bd51vT8f6qSLTRTZySz9JfMZ+0/vbu3Su+lcmHQXFJMfLy88SBzZ96YtGvpv3UUlOAVY5rEFNkQnLgDsxZshrlZKS6b5yFkR+MhWtwOFZ/MRFztnmhMDcV65fMx6bdQdTnKux1WIup06Zh7sJNpNf7MNMzGvrcGEx394fHsm/w9ugJcHLbjZnfzaIbk6+wzjsejfVGdU4t7TXROO2bOg2r7n4YrRXVCNu4BTtGfYwYx13I9g3C/oZmdJAuaOnNpDE2NTdj0ytvYPdbo9FcWQO/hcvh9PYnSNyzD/mBYThMxl4LGerixkmlVjc/lU7Nr6d9nYsN7oVY71FC2mVCWWUtGXLlKCihG0VtbrV5JdbS2qysMmDy9hpcNraYbnSK4PfJPBhGPIPyB/6Dwsuugv7VN1FfWIwqMoSUOhU2kXb6FmXi/hgnPBm3G8/G7cHLiW54KXUfXkr3xMt+jnhzwTSk0g0LP43mPJb8ykHNn+javmM7zatRfM6L5zYgIEDctLERIvKwYV1dgKVfvIuJU2fh+4ljMH/jDlprrUJftfZoZbNe8MOFrdu2ooj2l9DXQrpxTkoS+sprSMnDN2k1cF+9HKFpRejrrMOurc5wcffGp4tnw2GnD4qy47GMbj6d9voiIcYH63cGIc5nF3b6RIubAK1ujcb6JgS5bEBz8W6gLQQw7QMMu4CaLcSNMHh/igiPrTA1tYl+1ZTmYce8KZi93BF5xfnYu3oRxm1zxS5HB/gm5pAWsTHpiJHjP8OkL2YgJD4PyeEumDFrKqbOmEs3konw2rMK00jnpy/bgojQfVi9ZT02bt6F2Ph4zNy0FN8vXo8c0hun1UuwdOkGFFdXYPvir/HW2MkIivXH/FnvwGGHM9ZvW4P1W3bB1T8cLqtnYtLMlUjJqxAPNSznOpGNJRrD3BHPIfOSy5F378OoW7pCPQmAys++QOr//Bb5H36CmlZNmxUN4rHnT6z99a9/w5///GeMHDWKzh53PPOPSzH6jXfw1H9vxkMP6eDhsU88reW85jVj1jNLeQq1cEu8Fsdr3Y5BpxWi3KEE5ETDh4SzrioPKFqIlvIw1JYloiV/C/SVhbThaKJqSdhyIjB70QJ4BUcjwHUHNmyggV6xDrNmzMOcecsQHBmOxd/NweKlCzBviSOS0hKxdva3dNe4Cvkk3LzZrOuuq61BDC28VxelYOr2TCx0ycKXm9OxwiMH8/dk4pO1afCKLhAbg632qvxUbFu1EZnpEZj6zRykZ6RgurMb3GkBTJo1D0umz4XL3n1wm7MXO9ig82WDThNVhbxhTNSO8UHleMlXj92l3fCqAjbH+eLhxbfhsVV3YMT6O+BHh1s93VX0y0viXh6fgOxnXkLmg08g96U3UPrFN8h57lXkvfIm8t98Dxl3PYT8VWuhJyG0zssG3a44MugmJOFTj0qk6LvxiWs5fvpZLDxyWjDRuxqL/AtQR20zT7jKiko26BLJoCNjriuJNlY0GXRhZMgF4Zg+FEfLg3C0nQw5EkchLOW0qVasQVpmPBlj3yMhJR3T6UDPqtRjz5rvsXBDAI1lNL7c5UN3551oaarBppnf06E9D5+sXIuwxFjMmjwLe902Y/2+IFRlh2PZ9u0oqaG7SSvBsSaLjGLQlYprFiD+diF/LNosODV091tdDA/nTVi2aD4W7HSjDeuFhfNnYZOTP6VPxPp1e+Dpvhe73BIRG7wZOyMz0dvZQTcW6Vg7by7mzp+HdSRSITu94LwiFG3dNVi4YC6Wrt6CuV9NxZIV8zFpy2647VljZdD1byff7V5zzTVYu3atumWBMWPG4JVXXlF9EB+y5u8gWudl8lMPFugbb7wRTzzxBJ5++mlRFt8xP/nkk7jtttuQmZkp6rDOx4e4eEJ3+ZXw8/MXP7U+8tjjuPvue8UHvfNIoC6/8ioSfjfxWZ1+eakPrpG5CMqqRXZVC5b45MI7jeYsvAQrA/KRWNKA+R5ZyCqkQ46MAX46HuC8AVNpTyxdMBtLHPYgIzYG26a6o6Q6C7u+2UmHvAvmzJoP14Bw+JNIfvrRYgR4O2P2rMVYNn8yFu9wgceu7xFbQKL8rRNyM9MwjeY3poCNMGshUp66ZZBhu50MlJbubni4eSE6fDTy0j+A5z4vNDW1wDUnB9FZWaijdWGdt4YOoQp9JXYnvoycpPmYOHc1rnrmDdz08gdw8duHQw4vwrT2M1SRcWqdT5APOhqrhq9moHrGAtT29uDLL7/Egw8+KOZip7OzeJo6IB9R39qKxGdfQNaIZ9Hi4Y3Kdz5AV3Ao6l54FS279yLjf/+AzP+MUA06S3+FAUl74OFpQXhsdgQi8+qRWtaMN1bEQd/cg7dWxeOSjzzxuUOclUHXn5pBxz+x894wH9g0vvzdTfZzOkOdCfnxwVhA637JiuVYu82B5sgD0ydOwSy6mZ3lEYhwp1WYMHEO/ALDsXX9MtpLS+HjE4QdDisxc+5CMsgdEZcQhVnfTcOChdPx6TZPlCYEYNr3M7Bljyt2usYhPz0Eq9Z7o7ZBvem2Ym1DPXJ8gvH1b/+MPF9/VCZlICc8Bpn7/NFDh/2WN0fDe8JUutmrN7dbo5HmJmrlBnz3l0tRk5yG4uhEZIdEIj8gDO0GI1Y+/Axi6Cahlm52rPOx3nNZgPKEbtEOWu+xteIfrh3if6R25KhwW9vaxJcMbPPy3lPQh8NJCah6bwyKb7odvfHKp7gY/JTUdn+zn795WpieReebB/Kp7Al7HPDehM/w6Qej8TFpBH90n28GLUaUhWaDTtU87gM/EY+JiYG7u7uYd04nDJ+SbGxfthK5dZ0w5YVhz769KNUrN8y25TK19cHfaOVrplaXRWtqUN9oxJ4FX+HLaXQOL5yPLd5RKMwIxWSXQKSF7sR389YjIzoEWzftQn1PJ5yXf4fxs9eiloxv27lnskHnv3s9OnI2AbXEKtLMitVA8UJyl8HkOxZh7nTT3kgGHel7dXEmtq2kOjKiMe2bGUhNT8OUrTtRRGOxdem3WLk9AtX5EXj9i6+waCEZmd7hCPfaRmt1JuYuXgrvsFjs2bQQs0nT56/djigy6FZuWo21q7ciPDwU03fuQUI63Zh8NxWxqZlw27QRnnudMP3L7zF11VI6UzbBfe9yVNHcbd6yFKvoXNjpEUpniQs+/+xzOHnHwdRAe9q6n9S2GhrD3KefRwat1fSLL0MB3cxpqPh4HFJ//jvkjyaDzupmWyOvue7eXiTRfn7q4osx8tlnMY50iL/F29HRSfPOhrz2cOD0eVyDjq3BlPJsJJXlwFBdhrbKUBircojZ4lpfXUoGnbJR+QkF/wasNM6ApoYa+Lp7Ij6zUrzjoC/LgrOzHyqMjWQM8c86BjQ0NorH/dVV/Rulke94i0sr4BaRh2WuWdjil43x65MxxzkDyVl8t2qVngaef1vmNvPPtezXHhGL9wvEI1u6a6c0vODFna5VXdZsJGMyOK8OY91X4olV1+KRlTfitS2PYVHAdJSUF9OhNXDDsrhXJCcj8R9XIeHPlyKBrHlbxv3vH1G4dgP07W398taz8ZpbgRcdc3HjonT85tsk6MbHQfdZHOb55NNdJwnRIO2toLvSNjbo0KqsMMbRA0BHCW2yOKCTxY9unKjPvLh4Y/NP4co40SajcWpsNiFy50ascHRHlZF/riHDhseQ62CDuZYfSdMYquNrNCk/1xgoHd/B8LsKtu2yJj/2d6YDdOPGjUJ4mPxhZzc3twHix09r+YkVGx/89JXraqRNxoeleKeT1g2vC14/2hMRJrdRy8ePpg20rri/XB4bMfzTP/8Uxf0SP2sMIo7cT36CyE/l/vCHP+Ciiy4S317knzo18PcR7Rl0GrkM8Qkcfi/HhrYHG5OFPSkpGXffcz/+/JdLcO11N+D6G27ENdddT7wBf/rzxeJn19DQMLPwa2wxGbAjLAdXTw7ER1tTsTm6AsuCiuGTZURkcSPe35KGO2eGIjGnVLz7p+TjJ+oNNK714qm02Dvq00oD/wzN8fUNaKC78lpaD/z6hDiAqF/Ku0k8hkYRJtKTy2vAnuhrZGMtPa8QKbl56M55EAcyLkZiRhgSsgvFzy328misp/lyyTPi6aAyPBVSgceCKzEmogTFlSU0z3xgDSKItH6qqI/GhCRUf/416uYuRm9kHDoCQtGUkEKaRvF25qOG5jrvlZHI1f0M1b+5CE2/vxh1f7kMla+OQsLv/gJPnQ5ed903qEF3w0QfvL3GYiBY477vw/Deyki0D2LQ8Vrgp7WrV6/Gtm3bxF7hn1wdHR1FvO364Rs1Xld1NA9iXsUc8U9/dINEa6We1j6H82sTPJ81NFb8cy1rL+9nsces9oZIy9cUxxqp6LqqBTZkg2n/wT7Sm2MInbEIMy67CvP+dRNmXnEd1j/5PJrySIMI9vJW0f5hk+xwZw9cP56AaZdehQVX34wZ//w3dr49BgcaWsS/ha6sHGiU8RgcU39yHQz8fdLjG3SDgz+HZbu/62gcEiqK8HVRFNxaK9HR3YVvv5mMt99+W3y4/v3338d7770nvm9qz6DjNnN7Nm3aJOaS55Xnl+eZ35HlMbekp32lPSGkevldQOuybMl94p9Y+Zur1vrKT/76tUXoIf+02ijWiNg3VL6Yd1EPnZesnbwfWfdp3x1vb4o+lZchLSEaKXGRxCikxDMVf0ZyvOiDZc1q/SKXy6U6m5qNCN6yBqt3+EBP65DXGxs5jfWs+ZxHL9ZuvYnay3NPbVLWrqXN2vvlQoOoLr62uEp+fmrKe4L7xG3hOD7n+B03Yx2/I63VZ0Mqhw26nEdHIO0Xv0fu9bfBOIcMVvXHu4r3P0aK7v8h7+0PhG7Y5ufv6i6aPx9j330X9WTw8bnA4R999JHY1/xzrG2e0+FxDbrhQhbJWoPyMyzT+iA/k+QnlKbaejSQEVpnoMVGC9FeOjNp8vU0YXo2YO2xhe50jLSgaGHazU/kA5YNvOY6vXhvbrC7MmuyKFdWVgkRspD8VI8Wbi+fpH3yeLERypuNxZ03vvXYKoax/bynQ80QtEc25CzCaCH/JMVGbBOtF35aV0f7g8lPvNnlMH4SeTLr6Oywiowo/omUDdNTG0c+HIysBcTjGY92SXNYzT8bEatIxO2m0cgHB82FuOOm+a+ivctuDe1f/kdiBgrnf2hhNy+R/yFSPY259ZrR2EjzxHG8Z+3lPd/Ie4H7xa6eDj4j31TR4chaqPXZXj6mOS9dG2hejE2NwmW/Vqa9fEyt7MF4pvLW1xhgonOB07CxxHuWjTEmX9vbo5LnP2tYf/n8pn3PP8dra6Wa5p11oobX/HHWjS3P1DoZYNDxI2NJSUlJyR8Ho+KS4B0cB+8QyXNF37B4JKcMnJugyAQ5N0NBGsPo+OQB4xtDYWd1fKmuwIiEAe0YKg4w6CQkJCQkfjzYxP8I6/kA6EaFSp4Lvh6MP34aja6+gT8jj1iSBd2Lcm5Omy8EwCnO6l84q3BNaTi74/tSIB6cm67WPvSQBp2EhITEjxibImuVQ+0dOnBs+badsJPl6eT9MXFkMC76LBqd+/mtwf54emkmdC8PMjeSJ8+X2KCrU0fVAtfk+h82vry2NdqLH4yvBOLheWlq7UMPadD9yHHs2DHk6zsQlFkHj0Q9nCIr4RBcDsfQcuyKrkJghhFlpi419UBwfgkJifMXdg26N4Pwx89z4JFswgNjw6F7K0QND4butUDoXg9S/G+p/tfIT4aJ7l0KeyMYd22pwPbwSkqvxok8FG9dh6TCH2LQvU3zwXNABoKkyleJvAZtx4p5OgYdr31au38bF4F31yVifUAm3GJy4Ep0ic7BPPd0PDE/Dr/8IExZ48cz8qid0qCTGFJ07T+EHWS47YmthmeSAVN35WDE7Cg8NDUcicVNIk1zZx9yq9tQUd+FA4eOwNDcI4w8t/ga8WkABhtz0qCTkDi/YdegGxmIv3xZAmNTL16gg0z3eiB+OjoeW3I64Es3fmEVHfhuYwYmRDQhLa8BEXUHYSBt+D8u59UgjPBpQGp+Lf7xdSlaevrgEt+ImoZOPMZlDXbo/lh5qgYdGScfbM5XU1z46O47gob2PuhbDqCm+QDq2vrQ2HlQYcdBNHcfUlMCvQeP4M/jogeusR9i0L0Rgr9/FgGP2BzklRbi8y3JuHgs7wUq+1XiK8TXiGTw3TQ5ChsDM1FVU4zxW1KofjIC+SdW2zKlQScxVOjpO4w1/iVIK2vBLJc8XP2ZP277MgR3fRMq3GvHBwr35klBuHliEO74OgQ3fhGEKz7xw5Vj/YTB556gR0hWHXZEVKqlSkhInM8YzKC7+KsyHKDDdNLcZFwzPhpXzs1BeusBzHPOxpr8DnhElMOhqAvuIWVYmdENQ0IN/sTlvBKE54JbUFZpwhVTKtDV1oXnJ+WgqvMIpn8ToxyI1nX92PkDDLr3fyQG3dNLM6B72hezPCtQ1tCLjKoOxJe24aov45SnvqPIcCIj6dKJsSJ9L61XHsvTMuj4CRsZc7Nc05BbUoh/fxWlGHAUduf30dgUlInw9DyEpeVhW2gWRiygtvBTvLco38vB+GRzMirJsLv9eztrXRp0EkOBQkMHtoVXwNTai4e/DyejLViQDbanZkcjoagJudXt8Eo2UFggbqLw15bEI6eqTeTdGFyG6ycE4lYy+G6ZGAx3ukvfFFIunuRJSEicvxj0Hbq36TB60V8cQuafs14nlw9ATv9GOD70r4N/dA28ctqwchcZH2TMiZ9dOR1fjyK+zAcv5eV89p5a/Ng5JAbdASQGu8LBwRFekRniG38HD+xXP78M9NH1YdVz5FAf+g6R59hh7O87BByqh8uePShuPGBOP1zw2MJ0fLK9ENtijdA94yt496wUxBS14X/eD1MMujeCcOVXcSL9kBh0rwVjinMaIjLy8Auu403+yTUE3zmn4kB7mTDkLvs8Ev/3URi2kkHXYCrB5uAsxahjY5DyPzYvFgVlRbh5CrWFDEFz2dKgkzhdNLQfgAMZZEePHcP4zem4bjwZZpOCEFvYiPnuBUgrb8E3TlniJ1bHsHJ8uC4F904ORV5NO6Ly6pFS2ozHZ0TiFjIA7/ya7lK+ChEGn1NUFbZHVOKQ+hOshITE+YfBDToiH5hM2ziN/A4dv8vFTyKOZ6xp/8qPr7WDzzYNP+E43vtHZ4vcBj7ENT9fH69dZMD+lI1Ye3HEn2jxg5UxRE/oDnSZEO7tjF179mHzkvnY7OKKXS7eSIiLRYDPHixfswb+Pnux1jUchuxoOOwNwKGDvWjSF8BxqzOKS8vhtGEjjJZfMM85Xl6dDd1/ffHJ1kKkVnQgpqRN/EnOjt7DeGtdrnKzQetvyAw6Wpt/HBuB+Ox8vLIiQflJVYtjw4x/ZiXjjvngrFjE5+Sjngy6L7YnK3uA06lrfWdENhZ4pCv5tLmXBp3E6cI3zYiAdCO6D/z/9u4EPKry3uP4qfdWrb1Wa692u7WttrV9cGvrVrVVH5eraJ96S2tdWipVFFAUUUHcoIACQkggQFiNBMIekpCQfZlsM0mGkJB930P2bSaZ7Pnd952ZNMOcE2QJhRN+n+f5PyEz551MAjrfnJlzph9/XJ6ESW/IPW3heOD9GOw0VGBwaAhrQwqxK7HS/nTqy+tSEZ11HOWNVvvTs/LgCBmC8mnYX4p1jyyMw6yNZszwMWNXQoUIvhbnVyIivdEMOvHAdsWMOMzzT8Mi3xQ8Kx7cFn5hwiOfJuKexfG4d2kCbn9TbPdCNJ7wMeEzPyMeXhiP532MmO4pthEPdnN8TXjqnwY8sSoFG8LMmPpJtHjQi8b8IDOmeRgwZZ0JH2xOxv9MEw94f4/GKwfSsdbfiPvmxeFxseadzSmYviYBd39gwNPLDHhyVTLmb0vBra9FiQfsCFw/LwFzxQPpH1Yl4PmtJnwi7udNr4r79Gwkfv5BIubLr78kHi9sMmH2mkTcvMCA93el4cmP4vHgCvH9+BrxwKcJuGtRPO5cbMDkdclYtCNV/EKbAu/wdNwxW9yvv8ZgUYgZz60Q39tGE+b7JOPaqY77O3VbKl5eYcC178ZjsmcS/rHZhLc2JuHhNUlYKr7Oc0vi7EFwzXwDHvdJwVs70vCOdyKukutd426cgq7teDlSU9NRJ36Bx4AVx46k21+32N/VitzsY8gvkSe9rrG/j7PUUlOEtIxcdFotOH68Hl02G+pqatBzAb0s+mnPo6Pfv/xFQIaa+P5vnZ9sfw1dQ0cfvj41Ct+bbbBvPx5Bd/Ur0fagm+IedM7rL38xCoeMx9DWWIx3tqfhK/L1cvK+jWzjDDo/Bh2dC/J1b9tjy1DX2m3//Pfif8ZyD5vc2/bTWaF48MNY+Iuwq2+3ISitBv/7z3gU1HaIf4y59qdZZbj9zdNoj0AZdTIE82s67IG4JaoUMcca7LdLRPoz5h468UB0m/h/xcMLY/A7EVgrdqdiyuokTPNNhdd+E+6ZI7aZGoPHvBLxu08MeHFTMuaJaJkhAuuJ1SlY6p+Kx0UovSBCaOX+NPzhYxF0UyJwv4cRfxWh9rIIok92GHHLLHE7f4/B4yK6frvUgJl+KVgWaMbqXSK4liRiU6gZv54bg+e2pGGhCLpfzJJPg0XieXE/fIPNeEPE5GMrE/CoRyIemC+uE5E5a1c6tgalY7YIxpliu7fWJWHyiiR8vCsVf1mWgGfXG7HM34TfeyRhlrjPi3ca8dymRNwn7u+Ta5MwfasRd8wRt/VMJB5dI67zTLDfzpLtRtwoo/GFKDy6yghP8TN5bHkCpu80YYGIuJUHTHhxq7idJQl4xtOAS54Jw3UfJWDabhMeEj+jx0XsPiaC+DvyyOGRPZZnEHTTNuc6t5jYorJbcNu8ZFwvgu36NxNGZ04CviV+4bjmlVj8+I0EbImvsW8vD4o4q6CTIyJunl8aYjOycZk8ctV1b60Is0vFZQ8vTcRTnyXhupkx4u/R5Xrn+ocWJyKnKB+3zOdTrjTOEnIb7VH31BIDfjIjBL+aGyFCLRSL9+Sg3dqLmRvNuEWEWmm9FS95p2FPUhWiMusxZXkSukS0TRb/A3pzawbq22x4SMTfjTMO4fVNR2C19dufcs2r6nB+JSLSmzGDTo7cszAyMkBGPo7EiNY2rtu5Xi4/um4/su2p3M7I9SOXuX/uOvI69/Wul49s53q96+Wu43q/RraTl2l8jW9Mj8aV00QAjDx17L7edUZuQ87pBt1zEfjOa/F4x78IiwPLJvQsCSrDp4fKsexLZqnYTs6f1mThP6bKqHeLrNMJOvn3IyLsQ/FLgTy69RfvxDmeapXXiZ/9VeLv+fOoo4hIy8bdHxpGg03+vU8Jx+viF5XSigLcvkDEHA+KoPEmX+Mmzy+301Buf8r056+FYvq6NDR19uD+BdG4T/xWW95ghV9cOX40PRjPe6TYT00i99DJ183d/W4kgtNqcKSkRfymHIGbZoUi4uhxlBy32G+XiPTrpEHHOfdzukHHOf05naAbGRFq35kRg11xmfYDHOb6puL79tPuiICTT8Xaj3x1BNsdCwzYEnHUfnTrKz4mR+S5xv/IMOhoPPQNDGJjRDEiRYg9vSzRfiqSRxfG4eNd2ZizNcP+9KuMN3kKE3m6kkmzD2PKiiQs2pODBTuO4cEPYu2XyT18cq9cWnELY45oAmDQneeZSEEn94zJ04nIo6JHTj59KiO3lXu4tK4bjzmToBsZ+ZSqCLjrRNz9xSsZnsFH4C8ib6cYv9hMfLQrHfcuTMBlU8W2co+c+x5Y12HQ0dlyPfmvuaQF3qFFKKztxMbIEkxeYrC/nk7udfvJzBD7KUmWB+TDK6TQHnnyvHQ3zw6zn6Nu7rYMJOQ2iH/QBahs7HLeIk8sTKRnDLrzPBMl6OSpahYcQUyTBR5BJcirt+D/3o7CD9824u4PU3D5P6Lxo/eMuOtjE64VcfTd2QZ8a2osfjDfBO9KC1ZuScGkd424bV4ilH/E4Pr5Ytv3U3CFjMSpUfjZvCRc+aI8DY6Yk0WT1pxN0I3nMOhoPLi/q4N8ulWeHHhTRAmOlrXZ3wmiWVzWanW8Q4SMvqX7c+3nrpPvDrElqgSBqTX2d42QRm7P9TaJSH8YdOd5JkrQyT1zHx5FWqcVLy+OwaVPheLR3ZVISa3Gp8FV8K+3IuBYIzwPlCNY/Hl/YQu2Bx1HcosFvjXtOJxYjEP5FnRYe7BwXylC8prxwF/F9/7nMFz2qgHl9h/PMILji3CHCL4Tjiz9smHQ0cVkcGgYTR29qGzqQkVjlwi8brRa+pzXEtFExaA7zzNRgk6ea89+AmkRdvL1Y//6XNz/J4OhvGvCK+uycJn8s3xqUj4tK0LLvr0IHfmWcfbP5Twj/iyvH7ltuZdOXi5fu3a6e+fkMOiIiGiiWx9dDWXyIXtYcM7DiAf5K1+O1Qw6+U4JylP8uznrefIQthlqnT/VUf4px/+9P9/fh+CehanOrz7+GHREREREOsegIyIiItI5Bh0RERGRzjHoiIiIiHSOQUdERESkcww6IlLp7rbBYrGecL5BDudincHBQbS2tTn/6yC6MDHoiEjFZrPBah15NxCii9vQ0BDa2tudnxFdmBh0RKTCoCMaxaAjPWDQEZEKg45oFIOO9IBBR0QqYwWdxWJBfX092tra0NrayuFMqGkRU9/QYH/dnCsGHekBg46IVMYOOiu6urudnxFNPK2tbfaAc8WgIz1g0BGRykmDrotBRxPU8DCDjnSLQUdEKmcSdN0tJQjYexgN8umrlhZ093ahODcTcdExyKtqRm1OAry9d6ChpRHpibEw51eJVcMoyjLDmJYNm/NZrso8M6INJlj7h2FprkVaciLSj+YgLysdpqxSDA/2o/CoEZExiajvsKG+sgLVlcUIDTGgc9BxG0RnhEFHOsagIyKVMwm6nvZyBO49hJKKClRWN6Cvqx4RESaRbL1IijGiqLQQ5gQjgg9+jn2hsQgNDMLR3CxER6fC5ryNivQQrNu6C7HRYYgSUZdqEuuqO1CYGYOCZhtyDcFIyS5H7jEzDu/xxe7DKcjJzEBWdi5iY0ywMOjobDDoSMcYdESkckZPuQ73oDTvGNLTzUhLP4LqRvlCcwuGhgfQ2tKG/v4+1JSVobVTBJoIspziGgwODaCluQ0DLq9Bb6oqRJo5Cx22fnR1tsPa3Q9rZwusfQOwtDahQ9yH8vxs5BeVokms7ejstN+vlpb2E26H6LQx6EjHGHREpMLX0NFFiUFHOsagIyKVkwWdfFswoomKQUd6xaAjIpWxgm54eAh9fX3o7e3lcCbkDAwMOP+1j2LQkR4w6IhIZaygI7oYMehIDxh0RKTCoCMaxaAjPWDQEZEKg45oFIOO9IBBR0QqDDqiUQw60gMGHRGpjBV08gXj8khXi5XDmYAzxlHcDDrSAwYdEamMFXSOBzyeh44mrtY2nraE9IlBR0QqJws6nliYJiyeWJh0jEFHRCpnEnTDAx0wxkQgLDxcTBTKm05cP9hjQV1ds/Oz86+qtAIdNr75K7lg0JGOMeiISOVMgq63swK7t/khLjEBicZM8QBYi13b/WDKSMfBwGgUFmQi9GAoIqKCEGEwIiQgEFl5edjr54cjpQ2Qp3PtKE+Fz9Z9OJZpRFh0sgjAEhzNyETw7h1IOiI+7vHFgfB45BWWISpoJ3YGRojrc2FKjUfWkQysX7UciccKYEqIQ3RMOEyZ2Yg6dBg5ednw99uD/JIChB4KRXb2Eez4Yj/quk584KaLHIOOdIxBR0QqZxJ0Pe1l2O27G+asLGRmZqGmtgRh4Sb0DnQiLjIJ5ZXFCN0XgJj4KITFJMAgoq62rgLhYUmwOHeUdVZnYN26zxEZFYEUcx7SYwOw40Ao9ny+BdGmLBFtyUiICkNAaATMGalIio/BnoNhqK+vwPp1nkg5cgwbPdbi+OAAspPCcCgsEoHi+tKKYkREpmFg0Ir4w8GIig7Dti27RdDx3fzJBYOOdIxBR0Qq5+s1dH3dnWjt6HV+RvRvxqAjHWPQEZEKD4qgixKDjnSMQUdEKmMFndVqRVNTMzo6OzmciTcdHWgU/76HRdi5YtCRHjDoiEhlrKAjuhgx6EgPGHREpMKgIxrFoCM9YNARkQqDjmgUg470gEFHRCoMOqJRDDrSAwYdEamMFXTy2D95UpEeDmeCjjzBtTza1RWDjvSAQUdEKlpBJ0OuxbgJWPWfwNprOJyJN55fQ++2O+1v0O+KQUd6wKAjIhWtoJN7L5qSfRwPfBt/zOFMvFn/Xdi+uN9+ah5XDDrSAwYdEamMGXRJMuiuBnx+KB4A3UZedirjvs59tNa4j9Y6rdFa6zpaa9xHa53WaK11HdX2PwI2fF9ExPdcLjvZiO3lRxEd2PCD0c/luN7ul96O27ivdR+tNe6jtU5rtNa6jtYa99FapzVaa11Ha836b8Pmey+DjnSJQUdEKmMH3XrA6+siKESEyBjhnOGIn5/X1egM2AZbZSAGvP9bxMR16Pa8FnUbfonG9T+BzeMqtKy5ETUbbsfxtTeiz/ta9K/7OTrKsmFNfAl1K7+P2g23osXrBxjy5t/HuIz3NbB9fheDjnSJQUdEKmMHnTew+jJg3XXqEUFySqO11nW01riP1jqt0VrrOlpr3EdrndZorXUd9+1XXwHLQT/01R3GsOel6PO5GdaOWgwETYIlfDdsQ4PobwhBR8Aj6LYUYvjAN9HncSOsZRnoLI9Fb5MZ7ZHvw9aZgkF/EdleLret9fXHGtf7pDVaa9xHa53WaK11Ha017qO1Tmu01rqO1po134Bt26/R1MygI/1h0BGRyphBl7gW8LjEvieDczbzTfsL8Af938Jg8QFYU5bDFj0Tg4HTMVCwDwM5q9Dr/zCstaXoqClCry0PQ3u+jqHV38Ngmg8G0ldiKGM5+gP+hMHcVRj2vUIEnbhNza/FOeXx+hpsW29j0JEuMeiISGXMoEvwAlYqwJor7XszTpi1pzju69xHa437aK3TGq21rqO1xn201mmN1lrX0Vojx/6zFLNWzsjn4qOXiLTVlzoulx+95HXO6+3bOrf/10eXcf26Xzbua91Ha437aK3TGq21rqO1xn201mmN1lrX0Vqz+quwbZ7EoCNdYtARkcrYQbcaWCGCzutrHM7EGw8Ftk03MehIlxh0RKQyZtAZVgHLRdB5XibmUg5nYs0qBT0+N6Kpqcnxj96JQUd6wKAjIhWtoJPnzu/qaEZzcTIa8g1oKEjgcCbUNIp/1+01eejvt79fxL8w6EgPGHREpKIVdEQXKwYd6QGDjohUGHREoxh0pAcMOiJSGSvohoeHMTAwwOFM2BkcHHT+ax/FoCM9YNARkQr30BGNYtCRHjDoiEiFQUc0ikFHesCgIyIVBp1DW4sVsVnNiBKT3SBP3HL6Bmz9zj/pQ2un4/usr2tHfGEHTjze8+LEoCM9YNARkQqDThpAdFAeInM7UNbciz6bFbuCc7HyYD58U2pRkF+G+ZtyEJtdha2hhfDYcxTLI6tQXFqN1fvysVxsZ65oxKdr0rE7X/wsh/sRlFiKuk4bDMYyJOVUwftAPpYdyIO5sgXBhiI02/oQmVKCI0W1+GSjGfsyW+2niynNKcHbmzKxJjAXEfktKCmowdbwcry3Nw9pZU3YcDATq0KKcbS0GTvCj2FpYCGi0moQmVmDvII6vLQxEzkVLYhOr8ThhCKsPliA1WFlKK+tx8INGQjJqsXO0DysE9/f/F15KGhoQ6FlED11NfAJLL/oo45BR3rAoCMiFQad1I/Ig3mossqkEj+T5gZ8FlQowqgRvqFFiD1agtCsNlSVVWNLci0yM0uxUkRSRGohDmQ2IyahEGHZxxEemIf0ul77bQz3tmP5lnRkHe9BUnohdqY3ItFYjFBzNQ5G5iGpoAmr9mchJq8a26PKMGRfBRRkFmFZQDky86twOKkSOyOOwTeqALO9U7E3rwVHCusREJWPNYeKYC5uQHhyibivRSgtqMb09SYciCnEqx5m1HV3Y0tIDszlbdhxKB+G7Er4GWrQa2kTMSe+t/LjWOB/DBbxNWtrGhCUz4iRGHSkBww6IlJh0J26AUsnvogoh1d0JWq7T7YvaxgZmZWIyut0fn7qamoakVPX7fyM/t0YdKQHDDoiUmHQEY1i0JEeMOiISIVBRzSKQUd6wKAjIhUGHdEoBh3pAYOOiFRk0HV18TVbRCMYdHShY9ARkYp8i6/e3l709PRwOBwx8m3BiC5kDDoiIiIinWPQEREREekcg46IiIhI5xh0RKTS29uHpqZmtLd3cDgX/bS2tdmH6ELGoCMiFZ62hGgUT1tCesCgIyIVBh3RKAYd6QGDjohUTgw6+fFtMa9pzHNiLnGbX4jR2lbOHDHFYuo0hujCxKAjPWDQEZHKiUHXIuYqMcppz/Cwgv5BBYND2tef+Vwt5pqTzAYxROODQUd6wKAjIpUzCbriWgU74xWsCVYQaFIQnaUgIFl8zFRgLlaQXaHAWKjAJ0zBqgAFKfmO2NO6rbOf1WKIxgeDjvSAQUdEKqcadNYeBRtFoAWnKtgv4u3pJQpuf13Bba8p+PUbIuRKFLR3KVi213Hd04sVvLRGwdZIBVVNCvKrFaw8oCCrTH3bZzcMOho/DDrSAwYdEamcGHTygewOMTedMLsMNyA681YcSv2ZiLgbcNecG3Hf2zfgnrlfxR0i5h7/SMFv5ir41WwF977tmDveVPDYBwoefM8RfJNmKHjVW0FSngKPgwqaOrTi7EyGQUfjh0FHesCgIyKVE4NOihfzvn0Gh96HZ9CbqG5+Fv6GK3DLzMtw91uX46lFl+Oh9y7Hgi++gpLjCpbvV5BXpWDyQgW3vqbgz586npb9LEBBTqWCv60UsSeiTkafvH5zuALfaAU1zVqBdrqzXgzR+GDQkR4w6IhIRR10i8U4YinI5HgqtbJRwWMfOva03f+u4/Vx8qnUrHIFexId2wSkKAg7ouCnLys4aFTQalWQJrab8okj5kb23N39loJ7xMjX4G04rKC71z3QTjY3iJFH0CaJaRVDNL4YdKQHDDoiUhkr6Gx9CnbEKSisVVDeoGDyx46gk1Emn1qd5qnY984FiniLylRQVKdgbbCC5DxH2DVZFGRXKojLVvCEWCufgr1TzNI9CvaKCJQHVNiDsVgr3MaaP4ohOncYdKQHDDoiUhkr6Lp6FOxOcIwMtx4ReE8udITZXXMcUff6BhFvZgUtIt7iRbjJ61KLHCEor/90n4J9SQre3upYI6+XcVfZpKCxQ8GBZLF9oVa4jTUMOjq3GHSkBww6IlJRB90aMdeLURBsUhCZoeC37yqYNFPBPXO/jTvf/Cn84i6xB9lzKxTcMktBQY0Cz0AFc7coaBZx98RHCpLzHU+9/niagpgsBRHiduQBFPLgCJ/DjqNmt0QoqGnRCrexhkFH5xaDjvSAQUdEKuqgG1XXCngGN2JzhBW/mr3DfpqSGesUNHY69rTJcJMHQ4SmK7j9NRl8CtKKHIH31CLHQRBvbFRgEfG2yF/BzSIKH3lfQZNYHyLWHDZrRdvJ5hExROcOg470gEFHRConCzqpxdKLTeE1iM5Ktkec3MMmY+2TvQoWbFfw4HzHU6n3OQ96kAdAPLxAwXtfKFgZoGD6WseeOfkU7G/E9RmljgMo5F477WhzHXkKlVfFZIuxiCE6txh0pAcMOiJS+bKgGxGSnoTtMY6DJFYHKnj0A8fTrXLPnDy5sNz79pKX4+TDMvjka+bkHju5V0/+WV4u30lCHtlqsblG2zNijM4hOr8YdKQHDDoiUjnVoHO8qb6C3CpHnPnHK6hudhwsId8hos2qoLjOcUCEfC2dZ5CCPQkK/GId552LPDrW+7y+KYbowsCgIz1g0BGRinbQfSZGK77UI08OLN/OKylXQWyWAkO247x0JSLu5KlPtNacOAw6unAw6EgPGHREpKIddGvFaMXXuRgGHV04GHSkBww6IlI5f0E3ScyfxfiKIbowMOhIDxh0RKSiHXQeYrQi7Ezmv8TcK+ZzMRliiC5cDDrSAwYdEamMfVBEuZgvTnGixBDpH4OO9IBBR0QqYwcd0cWHQUd6wKAjIhUZdF1d3c7PiIhBRxc6Bh0RqQwPD6Onp0eEHYfDkb/g9Pf3O//rILowMeiIiIiIdI5BR0RERKRzJwTd85vz2uUFHA6Hw+FwOBz9jGw4Z84RERERkX4pyv8DBcA/0kmMjOsAAAAASUVORK5CYII=">
            <a:extLst>
              <a:ext uri="{FF2B5EF4-FFF2-40B4-BE49-F238E27FC236}">
                <a16:creationId xmlns:a16="http://schemas.microsoft.com/office/drawing/2014/main" id="{8EE5B083-BC23-4778-B85F-3DB09ECD478C}"/>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8" descr="data:image/png;base64,iVBORw0KGgoAAAANSUhEUgAAAnQAAAD+CAYAAAHE2qjOAAAAAXNSR0IArs4c6QAAAARnQU1BAACxjwv8YQUAAAAJcEhZcwAADsMAAA7DAcdvqGQAALfJSURBVHhe7H0FfFRX2v7s7v/b/dZ3v+1uu9Ju22237u5bo7J1o6VKaUsLpVChheLuLoFggUCIEHd3d3eZyWTinkDQ5/++5947M5lMkBIg0PP09/Tc4/6c99653OgkThMHDhzA8ZiXl4eM7Dz4xtpjrkrt2p47WJjmt4Tl5eUil+rjOvNyVVe9zqU4zc3NpWsKV64trjmfll741TJFmHU4UVzb5GXXnH7wOsXgTZkyBe1t7WhoaEBbWys6OjvJbYOzszNaye/TvhC5DcBflgOf+QF3rAUSagCvMuCazYB3HfCxL+CWBnySB3wYAazdB6wrAH63GlicA4zdAmxOAnYXA9duAG5aBfx2MTAtHnBPAYLygY2ZOK8gBq+2thbWrDcZ+/kb62phMBhgbG2BodYgwvR6vbg2GCiNRgrndLUqDSK/gdLytZKP2dzUjLYmE4ycnsM5vXqt5FHLYpfrpQlkf2tjnZKmX53s5zr0StrGBhEm/MLlsrkOrcz+bRlQp2iLUofWfmNzE2obiey3qlMMXkNJJMqL82GszkJ1dTVemR+H6spyxCalC//N069FjcmE+Isvh1NcKZqM1cDBHBiM9aiuKUZQQCCqqmvg4OAg0ueXlKI0NwXpydHCP2PGDOFu27YNoWFh+L+LLsboTYmIzypBflYR5a1EdkEBsoqLYaJGbfP8WqSv9Q4QbvfqDcJt6eoT7saNGxGTlo8Ify8EhUahpqYGE//0dxGX6ewmXIbmVlVV4aOPPxYD2tjYSPXpzW3VV5Yp+XaMEe6mxUvgH5GMjMwcRCZlwDskBrlPPYf8Dz7G7T//uUijUQyeqOE8he7FAOjeCT1pXvRZtN1wu3xpYNnWOO3Be2x6JB76Plz1nX3w4H3jUgrvkh5c/UnCgM7aUhs8DYcPH1GvLKho7MUVX8ZZBm9kCJ5bHN8vH+O0Bm9beAWcIitR375fDTn7UFZeGH76bih+NyZM6eyoUOH/zegw/Jr48/dC8ccvY/Azcm0H73g44ytvKw3glrBy1Xf2MZTbdndsHbbVtOH/faKmOdOD92PGsBi8tvb2M8rW1ja1pqHFsBg8RndPzxnj0aNH1VqGFsNm8Bie3hFILa2Dv+t2ZOXQLccQ4YIfvM7OrjPGH8XKO1OQg3cakIN3GpCDdxq48Adv0xVnjBf+4K2/6KRoXPYHdHcW4MjuX9qNt8cLfvCOrvz5maPUvB+OH/XgrYkwwauyF419gG94OfIyy+AbUYjFezLQ29akphoccuWdBuTgDUP8KAbvAl95v4dHnA7d+7kp1hwaXOCDNxd3fKHDC3N1uHvS0A4c44LXvBHTdHhtoQ7TdsnB+wHQBm3omyNP29OAHLxhCDF4Ej8A9t7Fs6Z4Hy3X+l069X26OBt/v3furK8Ho3UexY1M1t6RU+pU3pNT3oc7qffr2G8Os1wr79dxPJev5NPerzPnUdOa0wu/pUzbOnVtrW3IysoS7+FlZmaio6MDJSUl4PD0jAyxLDfmfYvVNUCqCfjXSuD5eOBjP2CcF3DxIsAtC7hqPeCYDGRTmtHewDR/YOQqILkeCC8DXCsB53QgugLwSAGmZwJTgoAxPkAwxc0uB1rzRHXnBXS1Rn7HrP87eBrFO3PqO2jG1lbx/lpbg5JWeedNeYdNvOMm3mWzesdNfadNe1dOew+upUV5r6+hjsrhsq3ecWsymdS0ljBTczNqifwOn/K+nFaHnTrJ5fqYBmINu2o8x3Fa2zpFGURLnZReLVfkIb/Sd/arYURdTTUtpb06VJWnoaokEzU11ZixIx366nIUFZfj7t1V0NfoEX/J5co7aJ/HC/dYbQAqKG1GQRESUjNEWHp6OnKKq1BWko+C3BIUlVViwoQJqKysxLfffivSPPvf54Sbb2hHfJgfYoM9UVSgvAd4JF0n3OXR3sJtr9Yj87W3kP3oU7h0rBdNWi2ioqJQRXF5xQXw9vBAYkauSLvu1TdQQx1afNvDdJoeQWdnp1gZXLfLLmeRpqysjNqlpOfdFRKThhqDUfizto9GSWEZ3P3DEZ9ZjMoqamNRkYhjsPvyyy8Ll3nen6q2L92ciKeSxzatNU5r4K7+zB93fROKvXHKrJwL6N4Kxuw9BbhqcW6/Tg5Gxvubj//WgU9GI3Qjg8X19ZOjkZhbgL3R2cKv4bQG7paJQSg3dWH23nOn6jwYv/0wDLq3Q/GL90Pxv+r1zz4g990w/Px9dkPxU0r3PxTPGLUhV7jHg+5NZeCu/SYKCTn5cIvNEX4NpzVwK32LkVbWovrODWxX1Ik4WJ6tIZXYUdKEVxwK8Lf3lJcgbdNaQ945/ECc84E7ePCQ3XflhpJnAud84Pbv32/3Pbmh4pnCsBg4RlJaPkKiExEfG4qsdOWOZShwxp6QqO45Aw+c7btxQ8ljx46pNQ0ths2KO99wwQ/cBb1VzyTkwA0zDI+Bs/Mu3FCxqenE76D8EAyPgVtn/104e2yIC0ZXbYrdOHtsampWaxpaDIuBO7rif+y/BzcEbO9QnssNNaTG/UCcFwMX6l+M3INAUIYRSQUGGNs7sdCjSMSduZuq40OuuB+Icz5w5yvkivuBGCYDp8O4jTq0dnNzNK4kDl8Mi4ErN+kQnafDPV/qUFanDdzwxrAYOLe4GqSX6dDSpQ2aHLgTQtuqFk4kDn8Mk4E7/3DOB+58hXjV6/vVXkjIKkdMWhFCYjOQWlCD+MxyYpkIj+e49BJEpRQjMqUI4UmFCEnIR1BcLjEPgbG58I/OFgyIyUEA+TnMTErH5HCv8AxylTx+lJ4ZFF+EoIRC+FNevygKi8qC73HI6fqVb8OQ+Hxy86gtudjpGWm3DI1+lIbrU8h1n5je1IfmllYcPnwYPRWVONjWhsNHjgj/4SNEdsW1Gnb4CI5oYSqt/UcoXrjWeQWVr/3sC0nBbu9QMVba2LLLY+0fo4y79ZiZ08XxOPQfm8F46yszcMML03DDi9Nw9dPf4q63FuHuUYtx16hFxCW4551leGD0Ktz37nLcOWop7ib/Pe+uENd3vEXp3qawtymd6t5L8Y+MWY2HPliJO6ksLu8eCr/tjfnKouvq6hadO3rsGLq7u4jd6KYw/kqadj1ixAisWLECXewn7tmzBwkJieKaERkZiYKCAuQ1ArdtUng78Y7Nijs2GPjCm9JVKXEczjSnVdNpfo2fZFrSammsyWkm+JLhFwcsiARmxAO3bLTkX5+vuBNDgPf8iX4U72CJN5PKvm6dpU23rAdmRYuuSQwxxKLjL7kJNqiuFZtUl9/bbLAK72jvEK8K8rU12g8AmzMUGnsU15EWzuZ0S7jGjWnAJpswa+aZFDe9HVibOjB+MG5Q6ypqUFxRv5Vrj1rc2hSgpF65jq5ROyUxpBCLjj81WF1tQGN1LvS1JlQ3NqPWaESDySg+Q1hXq4dTUC7u/joaxgo6vnbMRkpeEUl+ioifEGWiI6ITDcYG6OvrkfC3KxF/0T9EnHN8Ke5dmYMVQYXCj75kHGtOhaG6HNM2eyMjtxJj1jsjJjoG8eHOMOhrRLqt27ZixozpqNEbkZefB0N5Knz2rUaDoRQF2bkoyUuFS5xSJr+DiqYC8QnEGsr//PPP4+677xZxrMBr167DRX/+i/CP3xiLWFqNiVlF2BUYj5riIuSkJqG2uxl6fSVyCstRTenmhATjax8f+KQofUwqWE7HXKQon9+VrT90EO77PERc2DPPo3LNeiTcfb/wO8dWo7P3ENoalfFLTk7B/PnzUU/+zKxU1NWbsGjdFsSEh6GmuhI+fp7QUzpOm7hjJ6qS0qE36FHX3IzKvEIsuu0BEdfeeQA7PKKRSWHcjuDcHjTMXSQ+BVlLbXo+YS9eSNsn0hr0BkRHR5OQNGDL4hUo1TeJcP5c5YyZM+haj7RQd3jF0DisX4nS2noRf7Q9Avv1blR/LTq6umhsjYh13YLY5GzklNWhtjgdYbvWIiWzAMsdViEqKlrky332RbQHhSD/w0+E/6233sK/r9TBaKwTfmuaF53kuWGjqfaMsqHOcMbqOVG51v20plh0quqdE7jG1yC7qg0bg0vP2PsywxniA48jA6F7MwT3TY3HA3OS8WxgM+6bn9bv5dAfSv4gpKiHrq/+Oh7+WU0/iFFFrYgqbEVQTjN0o0LExyO1cplfbEvGt7tSUVheJL7uyWGD4ZwtOo9EPW6YEIisylb8Z1qEeKf9Uv6HNz8yKIsuFM9Oj4LuLZpM5sgQXD87Fn/9JAy6D8OVieVwdmlxmv18Te4t06Nx0RgKezsU134ZIcKumajks1504v37Q11w37UV67c6ot1Ygm1Oe0T8iaB7NRC1rQeU7+SODO636NLpBpLd/y6Jxy/5NXZuF7VlMJyzRRdX0IiHv49AVF495rsXoKyuEy2dfWrsjwen+inbU6X1ohtS2ijdZ47JmLYnbXgrnYQC3Qv+QhXOFP/vU3XR2Yk7Lnkx2QvX+KL/CcsdDHLRSZx1yEVHOF9/h7PGmXoT+kxALjrC+b7oeMHJRXeeQS66swu56AjyeD27kIuOoC06/nfXrW1t5x35obpcdOcZbJXOaGpGfEQS3AOioMQcxE4HBwQn5aC0MBN5xaWIjokVMcMB8ng9D6EtuoMHD56XZMhFd55B2nRnF3LREcyLbuM/AIdLyVXJ1/b8x0tjk+4ol7nhr4LdG6/oFyd4MuXY+m3C+J9Ay0V3nsG86Fb/GljzGyK72rU9//HS2Auja1G2bbxNmn5+e2Gav39YU7NcdOcd5PF6diEXHUEuurMLuegIctGdXchFR+Av6vO/cjuf2aF+rvt8gFx0Ko4cOXLe83yBXHQE5XjlYbDlr1ROU9lAbCMOvzec5fF6nkGz6YoMwB1f7MTSfcqnaIIzdPh6q+1CZC4jDi/IRXeeQVl0M+Eap8Ndk3T4fqcO7b067InR4fpPdciqsF5wwxNy0Z1nsL573RCgw1wXZYGNWa1DBy0+YLKIG86Qi+48g2XRKYutP58mDn/IRXeegR+ZiA8FncfU/sLZ+QCx6CQkJCQubCzcyp8FqEZiVjmCY9LFRxGTcivFBxGZidkViE0vRXSq8kHECGJYYgGC4/PUjx3mKR8zjM4WrvhYn/UH99QPIvI1f8SP0wVGxQjXQv64nxJ3og8iBlB9/cq3Q6+wNEqjpPONyh5QhjWD4/NFnafyUcSd3lHio4V9zS043NeH3qoq9WOIR6w+dqhec/iAjx1akR/s9gvTPqSocMHq7dSPfOpTar+PQQbE0ljHKB+j5I9TWo8bjzOnCU8uNqc/HiNTS3DPO0vFBxGv+e8U/PuZ73DPqMXKxwzJvfvtpbjvvRW4/72VuEf9KCJ/EPGed5fhjjcp3ZtLRBrxUUQq5+5RS/DQ6FXio4j3kv/OkQspTPnI4ttbCqE70Gf/Dy33Z5/5us/qmnno4CHLHzPOs/2DyrZ/WNk6/FRpXZ7m2pZlG2ftt053chR/bFn8gWbrP8Bs+SPMyh9iVv+AM8epac1/nFn9A85aWnMeEaaVqYaTa8mnlKOEK3WKfOzX0rBrU6e5Pq1MK55MnVq5Z7JOsei6+MubXd149dVXhStIhikn6OpSvsrJi4u/+cYfQOTf+Xp6elBWWkbx3WhX/4igp6encJfFqF/MVL9oyeSvW16/HrhpHXCjg/IFTfFlTdXVvn5pL+yWDf3L0b6+qfknRQJPuAG3bqPyNwJv7KawIEv+G9bSNbn/2af4A4qVOFGW6jJXUjjHc/mjM5RriaGHWHT8hU1eXE47d4qFxn7tC5vNTU3CP3XqFHFLztf8r482b94s/v50W1srWuiIYQT1LBXu6jhgchkwMxj462ogVg+8HwFEGIB/LwFy6oBPKM3DHkBSLeBSAMST65YNFDQATtW0eHYB7rSYxtMCvpyK/TuVs4b8l9AC/NtK4LV44DJaaMmpgB+luXEL8AAt6iucgZR64F5aeAvCgQ+p3jtoMc7OATIqKR+1KaGK6iCG0iLLoLZ8XQrcvxWYXwL8YSGlpTI+oPS/XyO6IzHEEIuusbHJvMDYFWxQrvlzr9onX1nxtHi+Pe8ltWtsbEBDA/8eaYH2OVeHdGCj+hnWVSnABjXcmsbugWEarT/3yrCOOxnyZ1y169VpirvSKsya1mmt65IYeohFp/yZ/oE0Gvv76039/WZSuhaKM5j//H8LsRW1JhOF1aKO4o3kGiiultLo9XqiQaQXeYRLcQbra6VskUbNp1wrdShhSjj79foapUyK1+K061ZqSyspt+I3oLnBiNbGOqVukZbC7dRZX6ek0cox1JkojdJG0YamRiUvhZna22CkE8BcJ5Xf1kT52c/ptXLVvJY6reIoXE/++hb+DK1e8ZNbRxu7fz85TilLGUslLfvruCy1Dfbq5DCNWp3cDuVa9XNa0S4lH4dr/TTnFWmUfOY4Gmeed3OdIq3qqnk5XCw6/hxnaXUZyqr5+7h6LJryCXLSE5GSEIP4lGzxuc5vt6RhuXs2LR49FrtGo6K6BpXFBSJ9A4UxHl1zs/hWb8p1tyHpiutQ5OAo8k4PqUV4Waf4Tm9lFZ1nLZE4po+GqbYcifuWU0P0+HrDdmRGeSAhierjb/pSPj7q+cPbs2YtQVF2CpzWr0K4ywoUVBjw1fwFqDcqnzWtrq7G7t27cTTTWfjDw8Jw3733oqK8QtTp5OSEnWQ6sMnQXF8Ll4RKHDl2DCZ9MVYvWoCiCj0yvVwR6LoW+SVlogwTDc5kPz9MJDuV/TX6alz+4mjUr58g/A3fzsQtt96qxDE3b0UvnRRcH/trW3rxqWOauOaTYePGjWJxrF6/F5nJMYhNy0VBaQVqqdyYvRuRnpUp0uYHhiMrIAz7PvtG+L/986UojE1CHS1w7uca93KkZuWJOJOpDnmvjcHRDh7bGszPicLLiW6oonQc77TDCZMnTxbfDm4riRRhTP4CPo+ry+LZSEkKxIapX8CQr8QHuWzA4Xp/hLs7Yuaol/DKN4uREuWOxjYSEloji7bvxrQNgcjV16G0OBelJaW04Pg7z3o0bt2B4hdeE9c5OWQrEZ566j5zvRrFouPOPL77UzSnzUSVvhGmhmY4bNkLdy9fpOWWic46+ubgnWXJ4iPUlTXVqKooQVFOkYirN1RjksdifO81QfgT/nkN4v96JQo3bBL+v8/PxorYenFdUWkEestwtDoc1VWV0FdVwDc6lyakFlVUbnVFqUjHLC8vp4E1ITclFsmRQSguKhKNziyuQlFaIrlKWp7Uykoy2AjsNxqNcHBwQGFhofA/8sh/xE7kRddiMiClvAkxhdQe2jDFVbUoyCxCalIUIuNSUJRFG4ny8MQl5qTBNTFTaY+hAUsDE1FXliv8puQ0BEVEoJLjiKVXXof8f/5bbLoa6sfRo8dwyUeeIo7bV1amLObirETEhgciIjELelMzmSaknjUVqKTx5LS9vfuRsdMNNUkZwr/hsReR6+YNPZ0W/DHrfVHKBuc47udhI21i1V9PZs7Hoz9Eamqq8G/atAmhoaHiulotn1lRUYE6UvH8jDhUlxejsqwU6QXFIi7ccwcytn+I+GAPFNDdZlZBEc1vBW3CSlQXZ9NGKaM5rKK2lKKoKBeZGZnQc7nUt/Q//wMVH30mymGTq5IWH8+fVq9Gs9JJnjva+0D0UJLrMNGpYC/udMjl1pLK2YvTaN1PjWLRia0icc6gfT71TJHx9NJMu3GnQ4Zrcr3dOMFXAkUaW5zTRccffdkWXiEYkVtvDvuxgSeoq/sg/t9H0fjJh1H4f2+F4H/eiaBw9YPWp0mGtujsfTX9ZBiQ3SS+rM6c4lZmLte86N4IQSrZivPd0/Ho7DglbDguuoSiJtz1TSienBWF/86PwbXj7TfyQgdP0LeelbhydhauXZiL374YgD+MS8MDY3nh9V9AP4QMbdExujq7hHsqeHJxBn6nfke4t++IuSxt0b2+KgFJeQVkO5eIL7v/hD90PRwX3cuL4lBo6ECZqQs5VW1iAfLflPixgSdtxPeR4jP+fG3+VP8bdE3u/32g+jmc/34DTyinZT+74vP56mf031LyCJfj1cVhveiCwwMQkZAGb3cn+AWGwIluuk6EV1Zn4x/jozHasWDgouP6Xg8WYTV6WnTkLvdOH56Lbm9cDabtzsFX27MQkmXCTV8EYkekchf6YwJP0k/ftSySn38Yjt+MpkVEqvK7D8OUOOKfxobj15qf4z4OFxOu+X8zmhmGpTsSRTk/4XByGdaL7nTRQqaAVpamdG+uoTqpLU/Mj1f6wRyOi27yDroFN7TjlknBSC5pxr/H+aPEeP68iDhU4Ek7k2Sc8RsJUtz0wkIs8czAQzNjlbDhuOgYrd19SC1txs1fBGFD4I/0zzRZTeSZIOOUFt2UdIzfWQy/8nZ8OqkEo3dVYbtbLoqqGvqlY5gXnT0O10UnQYtONdDPFBlPLaFFZyfuuKRFYzdcJWMvLzo7cYIvK39RxxZy0UmcdchFJ3HWIRedCv6q+vnO8wVy0UmcdchFZwX+RzDdPT3nH7t71B6cH5CLzgr87z3OS5xnj5nkorOCtuhcd+yBi9NO+O3zQ15xEZorM5ER649AT094hSeja7h9Bk4uuvMXUunODuSis4LyPZCu848d59dPh3LRSZx1yEUncdYhF50VOru6BvxJy/OCrfwN5PMHctFZQd5InB3IRWcFbdH5eAQiJCQZ6bGJyC7IRXN5FiqMehhK0hHk7wNvb18cpnT726uhbz8k8pxTyEV3/kIq3dmBXHRW4BdI7f0B3/OB5xPkopM465CLTuKsQy46KzTFbwQ2XXH+kf9q9nkEueisIBad9Z8pt/7z5SfyD5Kme/215P6d+Fcc3XgZsP6S/mkGyWfXP1ia9RepPTg/IBedFZri1ikTOITs8XHHwaZqHDIG4eDyK9Ea/LXddKfF1b9Re3B+QC46KzTFrhJ/D9/yt/GVv49v+/fy7fuPl4a4+lc2YVoae2GD+QdJs+Jnag/OD8hFZ4XWlC04uvLn5x+Xnl9TKBedxFmHXHQSZx1y0UmcdchFN0QI9szFsiQTQvM7sDOsHL5JNSjMNSCxG+g8xK8HEA51YMKWDKTUtCMhqwIpmQb4JVRQxEFsdCtQ0vwIIBedxFmHXHQSZx1y0angv3d2vvN8gVx0EmcdctGpOMJ/c/U85/kCuegkzjrkousHHgpb/oo4zYr8L6/Or399NdwgF10/KAvNM0mHtX466Jt02BhovQCtKfFDIRedDRrbS3D3pJ3wTNRhyg4d7pqow74E2wUnh+x0IBedFY4e0+GR73Ro7tQhvVwHU5sO93+tw2pfueCGEnLRWaHvkA5fOuqwJ0YHFyIfrezvOywX3VBCLjobjF7lCkOzDnfSsdpEinfPJB02BFgvuBs5mcRpQC66AShGPR2rjiE6XP0R3VSQbSfVbWghF10/aAvMHiWGCnLR9YPtQtPYQZQYKshFJ3HWIRedCv706/nO8wVy0UmcdYhFJyFxTrDAMRgLtoTC2ScWsenFSMgqwzMvvoFN23bhvkeewNdTZmH24jUinONj0ooRl14i/BrjMkoRnVaE6NQiRKUUIiKpAOFJ+YJhicw8hCbkISguB0GxOQiMyUYAkf3B8XkIjM2Gb1QmfCMziOwSye8XlTWAbr6R8I/OVvzRWXStuIIU5kv0ofxO+8KF6xuZhc1+Scjx+h9s8EmGR1gavCMyzPSJyMLipYsRGJeHWcvXw4/ymOPD0+F1GuT86zduR1BCbr8+nCr3+ESLPnPf3IOT4eIfBw9yd3pG2K33ZOkZnIQFC9YiIDZLtNVC7rstM+HoFEDjReNjN56ZCfeg5AHhXjTm+0JSsNPNH8fov6NHj6Ju+Wpk/ONf6MnKRtOOXci59W6KgYj7ITxmJ+xMs6SsAi5+cdgXlorlm4Pxz+eS8OIXqdiy20vMlfUcsl9Z4wp9aK0L0jrzj8nBt+u8aayU8VfmJ0243hHpIl2/8iLTscXRCT7xhf3qOB06ecfirrcWY9rKvYhM4X1cRC7t5WSF8bTPH/twKZ78dB2e+HQ9Hh+7zswnyf/UOAeMGLeR6IAnyX3y0414+vNNGDF+Ix75aA0e/GAVuWvx2Nj1Iv6JTzfg4Q9X4cHRK/HImDX4z8dr8DiV8+RnG8wcMW4DHv9kLR58fzkeonQjKOy5SY547sut+O/EzXiaynn0o9VK/AfL8Rhdc/rHqD723/3WIsvpGhSZhIrKGpSVV6K8vArlFTasrBZumfBXksvpyGXyNYdRPuEnllq5ZpaxW0FuhVgcTL629ptZWml1bRVO1NL3y6eWy3Vo/hK6LqZrbpcI08qxdYmcTrvW4vqVT/5iTm9mudW1mt/Kb8lnSae0Tw03j4MyJlp6Eab6tbTmPEQef/Zbh3EZ/erVrq2phhfbtNsSZwnv308bWtUl0lHefn0frH6eT3IbGptw6NAhHOJvOR5SvucortlV/YJ0zeFanJJWzWf2KzSH8bV1GYKHzNdanOIq4UpeSxrrsEPW4ZzHuk665nRa3X0H+yx9tRqDUs1PtDeftnFmmsuymS81fmAZNL7auunnqvtBTaPksw7jsvr7K6pqkJCai8Q0jTnCTUjNMTPe6tocRunMfjUvu4qfwylMjVPCNWrxCkUaK/arS82rtCtPYbpyLcowl8vpLddmoevt3Y/e3l5ij3B54nqEv9euu3+/cq2lt+aRI0fFPcr+/VQmU02j5T9AYXzd13dQydPTg86OwR+/VrUDNzkAt2/+Ybz5NPKeDG/dZD/8bPGWk+jfqY7BYH2yDp8VrU6QhMQwh1noOjo70EFiw+I0atQoODo6ws/PD+HhYejq4j8+pcS3tLSgrKwMVVVVSEtPR31DgxrXKZ5Ofv755+KEy87OwZgxY0R6juM0nZ2dCAwMwMcffyzqqK6uFmUyW1tb1SYBCxxnIsuQAuegbcKf2wDkEcPygXDSwykhQHI14FYGuJcCj+wCdlHc+jzgr8sBvzTgUQ/gSdqMwYWA3gR8FU9pCwCPIuBBjqMN+681VKYe8K4EbiS/D8VP9QEWBgPRBuBrKofz+VIZ03KAFaHAdRsB50zgwz1AKqWJrgBGJZOQrCM3DHCl8l/ZTW2jPKuiKJzS76M2OqYAntTeSLoeT+V6FQPbqb6xLtQmqsOf8vmXAJm1lMcVGLGF+loOXOUMjNsKpFD/b3ICXqch2ZYFvLodSKO00dT2xanAR1QXl/FPasdsX4qrA9JrgOtXUv3UPkMnEF8FPLSX2k/j9ByVH0Nj6E3X0eTeSeVtpn6NoLo2UTnfUfiDlJbH9TmqM5DSJFGZryfQGMXQWFL7N8SJ6ZGQGPYwC11zSzOamxWylTVlyhRhibWoYf1IaQsLi9DU1DQgjkWRReypp55CQECAELrmZqYSv2LFCmzbtg3jxo1DQmKCKIvDG5sa1SbRxk0cg5Vp4zDV/x3hL2kB3nQD3goEHtgJjKbNP482WxwJ2HzabA+SALD/XT8gkTbzvx3J2vAmYdhAZZGIfEP5nvGk61iKI+H5kITuDhJBjs9sImGjMq4mgeC0j9JGH0l5b1sPvEP1vEzXnG+kP3ADWUVvk6guoHSvUzsSaPNPpbKfJnEcTyJ4CwnCdxEkOlT+LCrzI3cSZWrTuHBgIrkTKG5yAIkUXd9IbX6M2vIJidp3JEzfUvsnUF0fUjlfUvx/SEjnUr2jqL7pVNajVPZGiruZ+raQ6n9qB4kfifS0IOB9Sv82uWOpj2EkyGxt3Ua8nvqQTmJ8HfXzc2rnS16K9beI8t9McS9RHRNJ1F+idnIaHofJFHc7jcWr1Kab1Lo47XgS8X003g9R396ieq6hclyTxPRISAx7mIWuvr4eP5Qmdk0Dw20p0g3CBrIM9Xo99DVEdm1YYxVeYxV+XFIee2lPOr8NB81n0+YfWj7zfOrnoDyJdNb9HIwD2mG3nzUnLGuw+EHHjOvhPCco90z2s59f8CT7WVPTP5zCjtdPLY1t/EnRKp/SNpu6T0Q1v237TmbMTqmfRLPQGfQGGAwGtM6chtq8XJh8fdD53lt022cSCfkhstIwSidI15ReuFbXZRXVGL8hFZv88pCZXy7K1BtqUWc0oNZYL9IwjcY6CqtV8or8ekQV1tCtVQUe2FOKyqoCc1xtYyOS/nkNEv/2LzOL128yl5VQUIV7V2ZC93k8lgcVwkR1cXmcl2+PAbpvO9KuSHsntaWhRbS3vs4IQ60JtSJtjbBeOYzzGajNtRTH5Vv3k/vj4rIXmxw2oaKiQoQxTfUNJPZ1Sr0Go+hfPYU1Udt5zLR0dUaqk/w8ATwm5rEkajhmpHvTyhhU65XxEf2kevn2nq1odrXyuL7UtDRc+s8rcM211+GSv/0Dt95+J5opHefraKnHH17fguV++Ri3LRn3kPmYlFUs8jZS2xrqeX7VNlAddfWN4rrWqMy7Un///mcUF2NVRASWRkZiSWAgGngcRR8V1mcHo2fJ62hy/Bp6Ko/baC6DLPe6mQvRud0FrfmFok6lHwbsffoZ7PnZLxH9qz+i8r8vo/6hx6GvraU6lXr/9IEH3l+XiNUBxfjZ63vQ0VwnymRyX9atW4dVq1aJa629/GilkQ9RMcdKG3gtG2uVtor1yWXQfBut+6yG7z/Yh5il6zDzsmux9eVRYn5EPOWtoc12dH8fZl5xDWbQ+jzY2oEaWm9a3fyLrPYLMoPvkJS8tF5oX9mC16o2HkZqT2xFEb7LDEFzraWf3K5aGpMtW7aI/tZp65XL5H5apdXWraurKzZt2oTy8nJz200NTeIuykDpef3XNTTSeqX+87pX50sZHyMCdixEbJAHjKZGWhe8xg1opLs0FpsWLoPLrDXSnRlpBNerksMbhH7Uop72uoHGt5bD1blgA0fpr7o2uF7qW85jzyDj4ssU/vVyFLw3Rs2jsK2tDatWr8EHo99V9pc6Zko52rXSB61cs9DxIDN3pHkjt8wEj+yDaEuYgqqaWlo4RoyZPBMbPUMRktGE9RsXo7brELa5esA/KJI6rOQ11dZg/PpkLNiTgcV7s/Dp+nTxS21Vfir2uO6E1769iIgJxeT3PoX7rD1w9U0V+ZgVVdWYm9KI1r5j2Bi3BI+svgHNdS0iroYHa/lq9NDGaNy9Fweqa5C/co05r3N8KS6dnYFx7pV40zELs0OpzcYapdxKI9CXArTG4pghEMdqYqEvzYW+PA8ubs7wdHdBcFQYNu1ywasfvoesolLsWbsI/rFRqM72gaEgAiU1jea6mFu3bhWLvKCggBZanQgzkbDMddiGjz//Du5ee+Hn640k/5XYvDsIc7f6wmPXPOxcFoBZe9wQsms33luyCW7xheYyeXN+//33aG9vxzffTBYLv7KyUsRxXV999RUyMjJw3333iWec2dnZ5rz+/gHCvfzKq3DPfQ/gxZdfFY8DOKyO5mSBexb8M/TYGFKEjIom5BdXQl8QjdyaVvjvWoPNk12w8+ut+GTKIuzY5oWtGzahMnEXdm+dDKdJqzHD0QFGOgi4PBMtxLkhISSgLVgSnYBjhw5hd2ysuS1ppYFw8N6Lq198F7e9Nwl9CR6oUuOqadHVjBoLR+ddYqNnZWaZ8zGDXnwZRUuXI/fmO9ARFoG0R55ANfVdi3dL1KOkrhPVjd14dVkc2hpqzXF8R5CQkCAWOD8a4TFrNpbBNboI2zbMQMCunfja0R2uPkFobzZg0+pF4qsgC1ctRkNRNDJC/JAW7YuirFAYG5Q5Zbp/NxVddOC5fDwJRSGROLj/gDmujubc5d2P4DtvMYKWrO03Z9XVVejdfxCO3uXUNhMq9EaUVykHL7OWDjwXvwpUjXgGpbfegQO0tiurqpRyyaDYbSzEt9SuVyJ24aOxnyA1JcWcl/u4fft20cdYGnvuew1t6g2zvke4uwPKa5vMaZm8XjlPUVERibmRwmrgvnoluuty4Rfoh71b18J9lzP0VXmYs2qzWDNa3qC9DoBxN1C2DihahIh9PLYG7F67BvPnLsPUPR60XjYiPDwAyaHu2Dx3JQyZYVi3ZjuCtjrh4w/fwIHGYjg5O2G32z5ExkRj7JdfYJvTIiyZ8hZqSRx3uXiSeKtjQ33Kffp5pP3xEjGeFR+PQ/7oT8zt4d8G8gsL8eC//oUDR45iz55dFK6M2/E4QOhMBp5kPQmcEZUGZbNo5AXLlg8PFJ9c1nEaDRSfX1yBrIJyUm/LgJ0MGww1iMuNQnphCuXlCVHjaJJKvX1R4uVjZkVGpjm+Vk9iQO6+pFLakEo7tbgqElA+qdi6qudTixeF1eZRSGawKtYnQz5R2R1Yzg8nT2AhTeDu3bvFc00+7TjMXlpbcjt8fHzh7eODfZ6eiIyMMreN58M3sRAx2aVILaiEX3IRSunwsS3jVMjjW2uoR21FLFkehgHx9VRnbiVZWdritaGe+qUPi0QVzat1eAW1W+/pjSo3DxS570NuYFC/+OiMUjEuzGDqh/X64rHizczX2vwMBY1UVlt3F1K9A8gybBQCbR3f1NqCktQMFCamoKmttd+ccdrGBsvjGet28fxo4Rq1vLyWQ0pyyAKqRVRUFGJiYlBaWmrOy9TK4j6faJ2cznrlOw+jqYFYL1x7ZRjJmrMNOx2Wh4ShIihEPA6riolFRTTd3ahx3NdGOsTZtR6zE9EsdH19fZCU/DHypy9446dvB5y3/PPYMHNfnlqUYjfNsOKL3ub27o7T209zIr7sYy7jZGgWOmEn/ohxfv3te4mhhO7FAOjeCVX4RpDl2pZvBtsPP8e86DPLC41PL820m+ac822r65cC1NYCrsn1/dNpfJ3GemSIQr62jX8lUC3h5PCjFLpjx46hseMAwnNMuOubEFz/eSCKazvw5Mwo3P9dGNYHliEoow59h46ItBIXNsxCNzIQxqZe6J7xRdfhbtzqYUJKVy9GODXhT5RmhE8DLvu2FI+Nz8B3X0cP3HzniIMJ3QeO+Wro2YNTXB10rwXh35MTaDxJoEjgvncvQ0/fEcXPbRtM6N4MgXdCLq7/hsb25WD87qNwJfy1YIzekISxm5MtgimF7sTYGl6BvXE1uGVSMF5ZHI+dUVXwSanFjROCsDm0HNsjKnAnCeBbKxIRkG5Uc0lcqOhn0dnwV59E4+bv4vpbJMOMgwnd+5tVoTvWja1esdDnJWCPbyy8nB1RlBODuOQkOG7fC8e1y7HHK1JJe5p4iurXt+zHNRNi4JvZCN2oUFz5VRx6TyR0lI5FTvcKpSHBW+dP/SCB+3ZXKpzCs0X8r8eEY4wDiR2nl0J3YrCorfEvIWsuFNdPCIRXkgG1Lb3YHFIOr+RajF6TgmvHK5OxicIkLmxYC92Ta5MwfksivgnJxHvk6t6LwPvr4rHJL50OyAws9knDW+sp/PVQjFofj9c2JlG+cHy0KQFvb0jG185JmLghAas9UqF7NQRrfDMwemsiXpgZhocWxsMlIhn3fx+DV+fFYMGuREyLyMBIxwSqIwHjnMgKejecyknAm8J6Ccc8x0Rsik7H+9sS8f6GRPyErKXvwtIx0Yna8KbS5hMK3VnEiyuz6PafxIofAbzgj1u+TxJCd0KLjoTMKz6HxkxN81YI1gdk4u+fR5j78xuy8D4U401+KXQnxs7ISlwzLgBPzYnG1F05+GJLBu6jW9bSuk4kFDXhiVlReJYW4kyXPLqNLVVzSVyoOJ5FN2xIQmA3nDjoM7pRIUJshgVft3r2eZxbV4+4HNz8Ld26jgzB/44Ow0/fpXCy7D4h4f/QgURO3rqeGtYGlOBtujW9cqwfbv8qRJCtO35ex7e0n2/OwAqfIjW1xIWM80LojsOz8mPE6Ag8sTgDPyNLS4gWk4RJNyoY/5xKAvRqoCKsbM1x+rds8lvzZH+MeIPL4/qItvFS6E4M6x8Yqhq64RhajnUBpeL5nEtsNZo6Dog4+UPEjwNS6E6C4+Pxr0+C8bMxsfh+Rx5SjT14YkYCpnuXY8SmXExwLcPD81NxGQnhzz6MxNN0t8S3n3bLOhmhOxGl0ElInBpSStuRUtFx3jKjulPtCVBi6rGbZliRxltDS/ch+2lOxDJLGScDKXQSEhIXPKTQSUhIXPCQQidhBn90VeLcQ/vaicTQQQqdhBlS6IYHpNANPaTQSZhhLXRdXefPH+28UKAJnBS6oYcUOgkzjid0qdERCA21/DOh+gbL3/g4EdraWnFQvqlzfBxT/vwjQwrd0EMKnYQZxxM6Vyc35BcUIDAoCZEh8Qhw90JQZDxq66rQdQToqC1EXHwcspMTkJ8ejNwoX+zc7Y69PhHIyslDJ6WROA6k0J1RSKGTMEPeup5DSKE7o5BCJ2GG/DFieEAK3dBDCp2EGVLohgek0A09pNBJmCGFbnhACt3QQwqdhBnyGd25hXxGd+YghU7CjOMJnZd7MDo7O1Cck468qkasXbsTydFhFHMU8cnZONzbisjIGBzubkREfAaaawphaOlBTHg46o11KMzNh6HOiJjQIMpzGGnZJYiK8Eed/DlWgfwx4oxCCp2EGccTuurSQmRmZaOjowftbR0w6WtQXpCNo8eO4MgxoKU6F3kFpTi6vx3Vhjp0tdSi/cBR5GZmUe6j2N/XR/8HCnPYr4hbQUEeDss9rUAK3RmFFDoJM+St67mFFLozByl0EmbIHyOGB6TQDT2k0EmYIYVueEAK3dBDCp2EGdZC11lfjqa4DWiK3yh5FtgctxYH+g6KsZdCN/SQQidhhrXQNSU4AJuukDxb3PBXNDU1i7GXQjf0kEInYUY/oYtfLzbf8OYl6PLZgyNrf4+GsLXYXxmI5oII9DbF4eCqq9FZ7oueyhgc3PBbO3mHGdf+EU3NUujOFKTQSZjRT+hi19Dm+wPx9yr52pZa3GBpbON/aBp76dTwNf8LrCN35c+BFToczd2Hw5nTKfx3FPYLYPWv6fqPanrbMjSqZZl5ovgfmsZeOjV81S+k0J1BSKGTMKO/0K0kkfil5NkiibQUujMHKXQSZlgLHYO3m+TZowYpdEMPKXQSZlgL3cGDB9He0SF5ttjeoY68FLozASl0EmbYWnQS5wZS6IYeUugkzBgOQhe8Lw/uiSYc6tmPHtrvlfpOtDR3o/PAEVTo+a+z9yFKvx9dPYfQc+AgDLXKX2w/cuwY+g4fQbGxF4cPH0aOvpsCD6GooQ/dbb2UC0gr70Df/sNo6CRrte8w0kvbKPQYypsOILO0DmU1dVjnV6j+S9xzByl0Qw8pdBJmDAehK81vEG5ZngHpDfuRW9sD14AirIirh0tAKfYfPYbA/Hb0tLWi9jDgEVyKbhKG9X6lqG3uEM+6igrKsD6sBtVlJnjH6pGcUYOK1l4s8anA0YPdqCfhZCxzL0bfAb4+hrX+ZULgMut7Rdy5hBS6oYcUOgkz5K3r8IAUuqGHFDoJM6TQDQ9IoRt6SKGTkJC44CGFTkJC4oKHFDoJM+St6/DAsWPH1CuJoYIUOgkzBhe6cpUSZwPyGd3QQwqdhBkWofs9kZdEf4Zn6+CTrINHPLlJOhw8PDDN8bmMKHEiSKEbekihkzDDInT/Q1TEaUOADltCdLh9gg73fa3DS/N0uGW8Dnd8ocP1n+qwyluH9f7WYnY8riRKnAhS6IYeUugkzLAI3RSiInAfrtbhfhK4Lx11WOiuWHU3fqZDXIEOMfk63POlInp7om1FzZaXEuUzwJOBFLqhhxQ6CTMsQjcX3ft1iCUhc4ogS+4rxYpb4qFDzwEd5u7VYa2fDm8uUYRuN4lcYpEOKSW24qZR4lQghW7oIYVOwgyL0PE/htoK/7RpuPXzVzBy8Yv4bIMOH63V4e1lyrO5LzbpcOdEHSJydLiJLLy6Nh2OHLUVOI0SpwIpdEMPKXQSZliEzoKtob54YY4O14/V4e5Jym3srZ/rcBvxdrpl5Wu+he0vcq8Q84gSPwRS6IYeUugkzOgvdKNVvkyk29g8HbaF6RCcqUNAmg5eSTrsS7AWN+ZEosTpQgrd0EMKnYQZ/YXOVsROhh8TJU4XUuiGHlLoJMzoL3R/IdoKGfMWlV8Qc4gSQw0pdEMPKXQSZth7Ridx9iGFbughhU5CQuKChxQ6CQmJCx5moZOQkJC4oMFqt8AxGNNWeyI5pxyx6cWITM7DA488gSkz5iEqLhk33HovcstNiMsoQUxasUgTn1mKhKwyQb6OTS9BdGqRYGRyAcKT8s0MS8xHaEIeQuJzERSXg8DYbATEZJObgyARlgv/6Cz4RmaozFQYlQU/G/pHZ8MtLM3KT641KYzzcrhHSAq8IzIwb7cPokPGwj9gCmbt8YUPxXO4Rv+IVGz2zYSntw9co4rgo8WFM9Ph9QPJeQNjs7Boc7C5vT+EgTE5cA9KMvs3OfuTm40PPp1Mfc62W/fJkPvoFhCJ5dvCRFst1Pren76RaXAJSrMbp9EnPA1eYbbh6fAMTYWTZyT6+vrMz6FSfv1/SL/kcuX6txfhcHe3iDsZHrMTdrbJWLZhF62zZKzbsgtPfJaGy55NxJotXgiIzTXPl0Zez75R6tom+tBa57XG3Oq0E8G0J3isLHPEY50u4jm9paxs7KM6Z63aqax/c/gPJ+/BB96ei1tfmYXIlELBqBTey4WISCJ/chFcAhLx2MdrMeKz9Xh87Doznxi7HiPGbSA64EnBjXjys43C/9Tnm/AYxT/04So8OHoVHv2E8ny6QaR79ON1eOCDFXj4w9X4z5g1lG6tKOvJzyieyPU8SXxkDOV9fzmlX4NnJmzC819uxX8nOuJZun7y03V4iMp44N1leOTDlXjikzV4/JO1VN4q3PfOUtwxcoFizQmh2xoGB5cQEq1yweScCgREpSIoOp2YhrD4bKTkVyMxu5xEjYXNQpGHwuPoOobEjoUwKpXEMoVJA0WMoEEKSyogscsnscsjcctDIA1sYBy75Cf6k+j500TzxmUx42t/2uABTFo0zEB7FOUwtTI5LZUXk4sd7mFUHpebQy6HFQg/19GfJL6Uxj8mX6TlvOY4dSEoi/SHkReR1g+7fTgh8+BMIhEUly+uuRylT9l26ztZ+hCDEwoH2Szc96Ghb2Q2POlwWu24R3xv7fCRwzhy+Ah6SkvR19yCI0f4ugyHDx0Sf8XrxDwi8gwIp3K16yPW4YJqeqs05nDrMO16QDqbMLrmOmLjU+DiHw+viHS4BcVjt3cYrW9aRzQ3AbSmbedSWcvquhZrTVnvvGZ9rebBep7Yz+ms109oUjHtJV4P/cs/Ha5zDsFdo5bgllfn4IYXpuGGF6fjuue/x7+f+RZXPzOZrqfhnrcX425Kc9dbi3Ankd27Ri2m8KW4++1luO+95bj/g5W4//2VuO/dFbj33eW4+51llHYppVuKe8h/r1X4HW8uJi4RLsffLcphLhFl3kNixddc5z3kPvD+ChK01SR+a4RA3v/eCoqjMkjQRHtGLRLpmHe+uRC3vj7fInTZ+SWorKxBWUUVylXydUWlxW9hJcUxlTTl5XTN5DDtWmVpGVFzyyoES+i6pJzcUs2vspTCzX66pniLX2G/9EwuR70upWulDks5ZeVVNuUSqdxiK7/19aDktmgsK+/vH0CreC2vWo65/6qfrwf0iTgwHfdP8St9tIRb6mX2b5vom3bNrtlP6WzzDvAP3k9RljXtllU5IB1bYQcPHsKhgwfFH8lW3EPiWpCETrs+dMg6jfW1Jb85TE1rDmO/FkYupzHnsSlXq0cLM4fbuIJ2ymLLrqKqeuAYMDmMOHCO1bmlNLZx/cfMZi3Zkte/1R5g9itP3RNinVnvFS3e6ppd3rMZOUVITM9FUlouEgVzkMBMzSXmIF4lXw9KkYfSM0WYdm3lEhNV15xHzR9vdW2O08JEmxQmUTvFteqay1KZqLpmoTtw4IB99tkJG3L2oaGhAbm5OcjLyxPMzctFXi5dE335pDMz1+Zao22ctd823JYUTxZXP/8A1zZMo3XcYPG24cdLPxg5nb2yrP2DxWvkcCXOb0B4/3iLa01LmBdZvMo8qfOVq/lz6VoJy+M51OI5nK/VOJFGu1b9Slk87/bK4vSWcCWv4lqXa87HcYLkV9OKNprzqXHi2qYMm7IUV/Xba5saZg4XYVp6q2s1XClLbY8ItypLpNHapLhKmCW/lk6pi8tQyxFxalnq9WD9tFeW4qp+LR+5J9tPLd2gZXEeqzpPrZ98raYXcafWT7PQ9fb2CvYQ9zMP7BfX1uG9PaqfXH7nSonvMadhau9iHVZvK7S8Wlns8onM6OG8oqxeGAwGEWYPNzsAt2/+YbxtE9FO+FDyFqrDXvjZ4onq5zGwF348DlamFn7FGnVyJCTOA5iFrqu7i9iNbmJGRgb27dun+Lu6RFh3F8dRGnJZBGNjY4WosZ/DmSxkGzZsxAsvvIBXXnkFEydOFGm0Mjgtfw5/1KhRmDp1qnjGIsru6TYLXU9PD4KCghASEiL8jNVZwL/WKhvsDtpod/Cm4w2nbUaraxbFV3cDT3rSBt8I3OsNvLDdstm1vOwyzSJArri2iuNwDtPSiTAtnRp23QbAL93it01vfW3tWpdz6xZgRRJw7TpgeTK1nfzjwoHHtgF3bQVWpQA3Ul8ed6G01D8tH7tc/zZKeytdc9m37gAepTRvUf8forw30fWsaBIoSsfx1v1kl6mFa/woCNgVZ0mjtZnbF5Cp1HXFanVyJCTOA5iFrqOjQzAlJQVvv/02IiIi4OPjg+bmZnSqcZ2dXSgvL0d5WTkKCwuRmJRI4tVlztva2oq5c+eKh82ff/45vvnmGyGWWn4WwldffRUTJkzAl19+KURNKbcTtYZa0aD8qmzsi3HBMqcFOHTkoAhbkwO4FNHm9QAqKoCSduAd2sheFLaLhGF7IbAhAVhJG3pyKnD1SiChBphDAuRP7hO04fdSGdNpAz9DG9+/GLiSLJJHSThcC4CNMSQm2UBYJTAvjURhD/BfEpllwZSPRPYtVyCDdPi+9VQG1RNYCkyMpLop70gnYGugIjhRVUB6HfCyD+BEbbqVxOnhXYBnPvAg1eWcR6JL/iTqQwC1IYbSfxlPZZGm/5f6MzWMhGkZUGAiIaG6PnCmNPXUVhKa9+k6Vk/1U3pu/3gSN67/nZ3Ap36AL9X3MV27UNlvUj+jKe0sL2ASieSr+6if1IYx1AYfig8rAxbT2HiXU/+oTWP3AltyAXcaoytJzBZTv/clUj0UH051PeYG7KG6FpO7zpfaT2PhTeMlIXG+wCx0bW1tgixgH3zwAYqLi5GZmYkmErq2tlY1vh319fXieVpRUREK8gvQ3t4u4lqZJHQsbvyQli01FrK2VqXcNorjB80jR44U4sh17N9/wFx2ba0idNtTViBo/1JEHl6Nglrl31JuoU32exKmNbTR3GlT82a91lGxfCJJWN4lodgaC/x9OQlDCYkFbfi3yIpLpXy3kkW3gOLG0QZ9hcQikMRxLAnXdyQUr5Fw3krlRtLG3UeCdh0J3EQSAxZQrwYSHip3LNX3HIVvJBG6ltK6kBj6GaktJCC/nA+EUn3hUWQ5UtmPk6UTQcIaSeI0muq7lcRvPaW9hIQ3tBr4wwKKJ2HZTelZFJ+nOq9fQgJNZf6bxOw7ysP1ZZH/KsrLfYihdvyL4l6jdk2idgeTgCVSmTNJiH5F9UeSaM0Opf5Tm18kQd9Bor0ig9JQuscpfyyJ8vskfFdQG3xJnOZQX8aQSO8hAbuLRPp2ElQXalMiteVjqnsKCeDfVtE4k4X5GY3PGDo4dlHbf0tju4cE3IfGYQ2J7RwqV0LifIFZ6Nhy01hCIufr6yuuW0RYixLXopCFKTs7W7jW+VpaWuBNVuCIp0bg/fffV+M5L5Hy9fUdwJNPPCFuZ1988UVh4Wl5a420ewlrI+ZgZfpnWJc1AQUGxWwYRWJ1Dd+O0cadT5vsYdr071PYSrLmXieBmU9W1rMkbjNoUz5O6QJJuK6hDfwqpZkWQRuaBGgx5XuB0r5P4nWjehv3rLtS3ou04d+gTT6fBIjzTSJLaAKJB19zvmco3yiq8xsq600So+lkOS6numaSeyul+ZAsolEsnuTPbiaLkKzBhZRvJNXPYsdl3EBtWEQu34KOprTjyAp8hOrhvt1Lgi3iKM0CdsmqmkXiPI94O4nXYnK3kaBdTbfvH1H7Z1E7Z5MQcf0sVM9R/QspzffUppsozR10CPBzyaepT0/xgUC38jdTvZ+ScLEl+o0/WYtEvi3msfmI2vAJ9XcyhcWQZXgDjeGHNDZfU/kTqYwbWIRJ4Jwpnq3CtyjuGbJAJSTOF5iFrrGxsR+bmprQ2NA/TPE3qKR44VqnUfw9Pd1k3bX1z0/XbAke6ONfWBvFr63savFGVejsYTNZKLbcTrdae4nWYetpo2/OVATQkVzrOHvk2+HtJ5HOHlPJ0lrD9an+NWQJ8fPHNLrd4zZYpz1t2ulTEt3errWqn7nWJs0GdTys0xyPnNe6TxqjaGr4m8P9+ksWrYTE+QKz0PEtqUKT1fVAmuyE2aXJTpg1Od5kqYtFsKamBjV6PfQ2FGE1ql9zT5VW+WrEdY0l7mSo5rdtn1LWCUj96u8fWA7TXtgpc0A/T5Gn009bav20yfvD+znInJ1GP205HPpZc5L9PKnyT6KfJ91OrZ82/OH9tB8+VOPIVPpZYxE6fkam0Ei3kdq1PVI8u4OkMVJ4vckIU51tnJrPnp/LMtSijq5bTRxmUKnEG8jaM7a2EFsV8jM9gwEGSmPgNHTdSPnaGrlMCqOytHD+NVdvsFo4HCfCLfUofqU+zVWutXKUtFxfv3aJtFpZlnK1dinpLfkF1bTKtRpGfjEpBssE6dWytD6I8ji9Fq6WxXU0NTWitaVFPDrg56SiLRTO6U11RrQ21qGB5qS5nq9NSnnWZYhyuC4lTOuncEW8cq3kUfxNdFA1mOpEPiW9JT/Pp8FYp4SJMpTyNL+BLH9DHcWLepVyucz69nbU0dwa26gP5HKYkr8WzQ11oh8aG6kv1v3U2qbVJ8I5XmuTqIPTk18NE9fC1eLVfOY8tHZooxjp8K+jMeYNZ91PA88XpalvaRb5eN6UvnIaQ//5JIpyuQ6Oswpnmtuo5uXretojShs5XMlnbpuarl8/1XxaOUpajZxHrUPLp8WLcq3KEmmt81rK0toh6hLhWj7VL+I5rZJO6Q9TS8N5OZ0SJuLUvFp+Mf/mvU7XeiWv0ifOo6bncrSyRF6tLKVcc9vo2ix0Bh5wWrytM75Hx3ujUO/jjdrsbCWc2FBfp06KMqHaJIsw4VIDqdC94QVY65mFHUF5ws/pGptbaMHUoIUWuJKXNiBZc1p5XEeLyYCX9pXhwb3VWB7hBpNRiTdQfFVKGhIvvhyJf/uXYPyvL0JtZ4eIb6wz4M0debjo+2ToxsehoppEjTuotrO9owc4WKMasMDR2jTRFtEmUvpmWsCiHlpUzXS7rvWXBVtsZLFYLf000Rht2rQJDg4OZImSaIj0LDZNShpiQ4OJbscb0NLcJMZACVfGiPvO/joTj4UWp8ehQ8q7hXQDjKOVcehpofG22ih8e89C1tLSSnOhjCO3h2//77v/Ifz5kr/h2muvw6X/vBwREVHmfmz2TsF/ZgRgiW8+PnFMwj/f3yFEwljHbWwU6QS5LtrUzS3KeDTQ/IgyKNyShjY1HTqLAwKwPj4e0/38EJuba24js9bUjJbVb6Nr4cuoLS8SYdpcME2pGaibtQRdIREwCkuX4qiO+o4OrNLpEPjr/0Pqr/6Ihgceg4GsfK6Xx/CBqYG4//sQbA4rw+/fdcN4hzhzu7jc0NBQbNu2VfyAptTJ7a2lPjbRRlHSiDCa5ybqt2iPmAtl/fFG4QNayaes2+rqajEjc666HjMuuwbtpdXqnCj94X/p6vPV95h12bVwHzsJh8kvyuXyqG7GgT6+6VdQXVUl4vjOxRY8t8q6VfK30EExNt0P2VXlYmNr4dw2bte2bduwa5ezeOSjtJk2Oa1nE82rkk5pJ++zTbRWN27cKO6cOI7J676e1ndLMwk4zXsjjTWPs3UaLjPMYwt8t8yFqakNdfXaGq8VhoyB9iiPLdff2twsDlVtPkX+Wto/1CbeG1xHE+0HkZ/HndvL6fhalKmUY6D60397ETIuvkwwndaDob3NHM8uP+MfOfI/CA9LUMPVMsQ4qWNFZYvy1Hiz0InbRmJpdSkKK+tRV1MCQ00VnTw1qC/PxKxVzqiqrER8ajYqykqRUVCGzKQ4OrXodFLzpueWYeTieEzeko4vHVKxxS9HLKypI19EV1cHXvtuFVJjo6niauza4ojGpjqRjwXn08BydcqBUTueRkCat7ncyuRUpN92L5KuuA5Jl1+LxD9fBgOd+Ny2tno9dOMSEVDYhp9MiMdXPtV0ErK5q+Rta0wEupKA+kAca8zGoYpoVOuNWPDeq2jr6sHLk+aICc1N8EZWtDfyikpoDIyYMccRS7ZsRVl1rbkdTF5oVbRgV61ahS1btoiwhposBMRmQF/XgMSsYqxcsR3T5uzAGs8obPSOpgmhTU0CnJsUDq/oHETHpWD3tgVoJnHn/NVEBi/eFurXoZhV6G7jBajU2dBQj9tuux0jRozA+PHj8fzzz4uNyXEsVn/5y8Xw8PAg8d0EL29veOzzMOfdFZSOutYe7E2qxu6ESqz2yaZDxIh1y5ahMCsWYalFiE+II4u4DlklVVgy0Ql5GRlYstsT6SkpyExLEBtAKy+loAAbk5LwJdXzFfG1rVvRRNYZx+lrarEv8TVMWbUDN783CX0LX0RNQ6s5by1ZPtVT5mDhokV44MEHLI8rOI76nXT3/Uh7dSRK1q5H5nMvQU+LnuN4sd4/JQA9Bw6jqbMP3fsPYfSqKHNe5t69e2mj1WHhgoXiROf5j9y7EwXFJSgqo3WbkoPi/DTEezkip6gYdfpyZBVXoKi8AuWUfsWaTVi9zpXyWea7lg6ryb//K2poTeSGx2DNky+iTrRZEavYdVtQEByGDO8gFIdFI2r5enNeHrOEnHrs8MnFZrcwBESnKO2iOBaq9u4j8JjrCsMHY9Hu5il+kBN5qd0lVZV4NmEvXk50w38TXLC2OJn2olIns5DmoJUsnRUrliOADh0RXpKJ4rZDcHbfIw5yrSxeJxUVFVi9ajU2O24W4fUNZJCEJGDO0g14euRodHXSftjkCLfYfCxd5kjjreSva2hGU/EeHGkOQU/FHpT4fI0GFrzqIszdFYrIPQuQV1glBOtzJ29sdqI1Ex9F+RoREx6GyhQPsX/GjvsAXQc68NnnXyM9IYrGRo/cxBAkFNSgig7DvJJKpb1MWpslz76E9tBwtAeFIO1XJHRk2Wl94Xm+7dZbsdVxL0a+pUN+fr6IM+dXyXvK2m8WOh58Q40BO9Lc8UUw0FbkDn15DoXXYMv8zzBh1MtwoVOhKsYFCxfuRIjjHOxzc0MZLW7OywxKKMRzc+OFNTdtexp8YwuFcu9euxbz5q7AlN0ecN6zA1t27cP2PbtowJW8hppqPO5ahuCaLrHhH1tzM1YEzzOXWxoegfKvvkOjswu6MrNQu3wV9HQCclyriTrxRTKiKjrxi89jEFLSAbf4YnPe1gYSuu5UoDESx/RBOFypCN2eNWuwYM4STNvthu0bHRAXG4op89Yi3scTL3w5HU4uqVhEE7do00ZaOEpZTD45SkpKxEm6fft2JbyqGmWJAXBcPAOrly3ARgcP7AvMxcvvf4KMGDfq0SGsWuyIvu4qpJaVYfmcr+Hhug6NRsVq4Il45plnxDuFL7/Mf4yG/9VIr7lOFoQrrrhCWC3r1q3HPffcI+rnOLYc//PYk3jxpZdx9TXXibAdTjvNeaMySlDf1oupLunYFVuOb3ck0a2lCTMXr8P+7lZs37kbFbUFWLr4M6xcuxzB6wIQn9+CxVt3IqG4GNlZmYjKt/Q/LD0DfUcOwyUjlzZELbaSGDaqbTHqG7A14w387ck3cenTI9GcnSjmX8tbQ+yNTcTDDz+M0tJSMZZaHN+qOJFFd7CnF0X3PYyM//ktasga4TjeuPd9FyDGxT2xBt0keB+uiTLnZfIG4DFh8vxUkzA4rF+BNmMx9gVF4+tvPkOc517klBqwz3EDltPcRTstxjTPRHyx0wv+gTFYuyMKi1a7i3ZymSZq06p7H0HYOgcEzF8p6merTNRJbdr48mtoNxjhOvYr6NOz0N3ZadUm5fBy9s+juwwD8kvJaNDiqIyG9sNIuu8pVL7xDoxffyte49LyxtPm92uswPPpnnhn9Xx8/O77qCMR1+ILSOi4n7wu3N3dRZihLBfu4QlwcHam9aTWw+F0MPOrYNbrtc5EdRQZsGrDRrH+56/ZiN07XOG4ahbictT+EY2mRjTnbgcqHIDC5dB7fgxTYyuqizPh4rYLXvv2IjwyGJuc3fCFw24sdt6FjPpuzBk/D93U9+10YC3YFoPpO52xgA43F7IsvelgnLVtA1n+DXj7SwfEBroiPi3fXCcLXcaf/4HcO+8X45f689+hRt3rPKb8jxmmz5qFL996C4mJCWQtWsbteOwndPUGE+7dNR5w1aE5bTpqi8Np0PSk2gXiGY/DGgdE08m4aN4apOWXw8vDS6i5VlhlZRU+Wp2CJ6bH4cV5CciiNNy4gtw8lBSSBVhQhPCgQFrkJSgoUqxILW9CURU+Dc3HzVNvx33LrxUnmBZXkZqGhEuuQNxf/on4Sy5H7K//DD2daBzXxkL3aSLuXJmH33yThEluBUI4tbytDbFAH1mLzXE4WuWPI3R6sUVWQLdcJUVlyCoswrZlS1FnqBSLtyQvFYm5BUiJCUNhSRlyaVFpZTF5c/Ipwqfk5s2blTAaA3cPb1p4tXDbF0QnbjEKi8pRQPnZonV390QNb2wy92Pj0hASFoWiwjyzgPI48IvUfP3UU0+JCeZ3ELU6mYGBgVhLB8bMmTPFrbMmErzY//6Py+Af4I/HH38cL73yGtXnYc7nGJiJ5LJG9B06goLadoxcHQ0TnagmElk3r0AY6NaoqrqC+lANn6AI+JPlEhkcgEKy2svIgq+sKCfX0g4TbZyt4dHozbyE1kAIvNPSzHEiPt8ZEyOKMC+qGHq/51FFh4o5njfri2/DQJZdbEICGmm9aHF8cOVcejUqdf+Ljj2uSPzF7/sJ3UPfB2KhZz669h/GeMdUjNsYaymX6EwbnF2eFyF0dG2k/G50GNcZqxEen4JwH1qv+kr4RcSjuiQLCZlFyIgni6y4HNFR4SgmNy/fckhWET0/m4zEzVuR7+mP7/56NYxkZWrxPS3tmHbTrchwcsOcex5AY7mlPzynR48eQ1FVm5hPBrdNlEvrT8NhukVl8O2dlreWLPik+ASMH/MxPv74Y4wZM2aA0LHLdbDAi/CqChJUPa27InM6JgtdTk6OzXolsfdwp/FpQEZhCUrKy1CQX4iSYn5UZdmTRrpVjV77NjK2f4iMbR8gbPkrMJGVx3VV0trVk1tTU4CQxCKE+nmiUl+HyABPan8jvKn82poylBXlI5vaVFZWhMK8fESF+CO/uFCMQVVlOeIjA1FBBpZWpyZ0+Q8+JsYllQ88s9BVCwt28rvvYvLkyYiJiTGHn4j9hI5Zb6hDpaEZVTW8QC1iw2TTkV1+fmUdbs1K6kB2Qbn4wom9+OOyqgShmf4kOiZaZJZFU0UiUeLlTfRR6EHCobaFF2NLXQ2S8ivgGl9CG9EyUcxa2sD19Q1kPSrPJPjaOp5pJDGyDTseNYHWxmMoyO8cOjk5iQXAz0k0i+1kGBsbB09PL/j4+sLHx1eMiRaXQ7dnAclFiMkuEwxKLab2989/qhTPViozqP8Dx7KKDjYTxZfQ2qmxsvbN5GdA4VEwkGVepY6jIG2+SjcPGHh+d+xCzl43uiVR1h9bQv4J+WJcmPzLf3S6RZCY2rOroSTPRWNzEyrp4MuNjEVLR3u/eBaf1vZ2pHr5o6W1DUYrMWI2qO3VyOVpcdbhzH7tp3EJKc1FSnKy2MxMa+vX2kA4mX6fzno1mmgtaqyziLyZ4pbaJux0SG0t43VAxhGPS+leslit+shjzGPB/T6V/piFjgdDUvLHRn5exL/Yn8/kja/1x178cKORDsLTbW99neW58cnQLHT81VdJyR8b14dU4qdvB5y/fMMPTe095v789CVv++mGEbdGVp92ex+enWgu42RoFjoJiR8jNkXWQvdO6PnLkcHo3M8vtijQvRxgP90wolOc8lyS8UPb+zB/feMUIIVOxVH+91sSPzr0E7q3Q4j9N1Q/vhFsP/xc8nhCd7y+nE3atOOEQvcmzcMbxJGq+xbRJo0UulNAckkz9sRUwymyElF5DcipbsOWsAoUGjpEPH9uSuLChrXQXfxVGV4dH0EbLRgPz0+nTRaIe+em4dovYqB7NQiVNU24YWoybp5MfqtNd045mNBRH1hQ/LOaziojCloRVdifAdlN+PkH4eY2H0/ofv5eKDKKCuEYlIXxW5LhwX9zIzkXutf7i50UuhNAE6+1AaVY5VuMa8YFYMTsKOxL0uP2L4Px5rIEVDd2Y3OI5QVmiQsX1kL3ly9L8MwnYfj7kkJcOdoLFV2dGD03CnVpBiF0qfm1qDW2Iavh4PCx7gYTupeU9w7PNv7wfhgumxiLX4wmYXs3FD8ja4xx0WfR5jYPJnS/Gx2G5LwC6F4Jgm5UKH77EZXxGo0zWXZVNcWKdaemlUJ3EtgVXYWdUZW446sQ3PRFEL7ZkY1bJgXjRrr+ekcWbpgQKIQuPKdezSFxocJa6H71cQqm7i3Ff2YmYKFvJS55LxiLPSpQFF8jBOVTx2x8s6sQ43eX2r2dOic8KaE7iiOD3pwM7V3LfbNTcPPURGyLMSqHwRtBIvyEQkdpiyuKyB+Mq7+MhKmuBHE5+SipIIEja+4nNN5O4dnm22ApdCcBQ1MP/j3OHxO3ZMAjUY/FnnSCf+qPyNx6eCcbcN3nAbiexG5fovJ5d4kLF8f9MYI21y3Tk/Hzd4bhszmNJyF0ro6L0dDWge2OG6GvLsV2t0CsWL0eft6uyM7LwYZNO3BgiPTu39/E46WV2fDLbILuRf+TFrr/914Yvt+dKoTs9ZUJeJHurHTPB6G5ng4VFrc3QxCXnU+WtTIXUuhOgKTiZrR19wmrzZVOalPbfqzwKcZkp2y09RzEw99H4K5vQnAb3cZ+tzMblQ38j1kkLlRYC93d8+Nx7fRY5XnQWxSmbjDxUJwtOLqd0r0agidmhOPqqbRx1QflT66Ko3RqWk6npeVytTC+HqVec5g5rZrmnXD86v1QXPc9lcv1qXX/5osopR6Rnm7vJpGf26daNicjdLEhPtiwfjuc3D0Q5rYdaxwcsM4tDNt3bEdqSgxKq2tg0L4pcZrgen//cSTum6l8sJDbwziR0F08LgKPzqOxV9NwnwvKirDAPV0ZI+rv5uAsdayk0J0QrvF64V7/eSBunhiEJV6FqKzvRkhWHbIrW7GJbllvonAWvtAsE6LyGkV6iQsT/Sy6V0IwfmMsnp4Xh3cd4vHf70Px7q5kbAxNwRznZKxwTcXMbfF4b3EERjgk4IsN8XhlTiTe2p6Ezx1j4RycitW+GVjjl47X5kfjttlxWByQjHHbkmjjhmK9fzo+XxuHee7JeGpFPEYsiMfra+LwrVcSPnVNwp/eD8FzmxMwfl0cnpoegQ+3p+LexfEYvSwWX3kmYdLWOPyd8oymuq/9VLUyh9kzOt2zvsKK41vRK76kA+A5PxF+MhbdtD1k0alpfv9ROJwj6VZVey5HAhcvLbqTh1+aEd+SpfbkrChcPz6QLLYuZFa0YLZrPu7+JhTZVW1YThbeVXQry/9WMb6oSc0pcSHC9tb1J8Q/fByOn48OE9c/fZfCyZr4v4/D8LtPwvET2pA/pfCfkfv/PggTlttP36M0lO5/36cwvqa4X5B19lPhp/RqGb/+MAw//zCcNi1tbPL/4aMw/JL8HM/83w+oXMrzc36Qz9Yb1cfW3XzvDPz1gxCR5idaWipLWHWDCd3LgWrI8MCJn9GFoKhceUbH/j9R32tr+fmc4udndNtDyaLjPpNfCt0JUEW3otN354ofH+paevGnt/ehqeOAeK3k3m9D6WTOQAfdwl4x1g8HDx1B1/4hsuklhiWO+4xuuFC79bXHwYSO+UogdC/4n3vyszqrNtsVOuJv6OBIL1B/dSX/L1nM+REAWXPV+pJ+r5hIoTsJuMRW44pP/JBW1gIDid1934bhhglBaO3qQ35NO15bkoBHp0cK8ZO4sHFeCN3xeDyhG6YcTOiY/4+YWlAorLdJ21Pgk5ADn0R+j069VVcphe4kUFXfjaTiJlz+iS+uGx+AuyeHimd2/KoJu1d/5k+3sK3o6JXW3IUOKXQnwVEhuH5WGu6eEk+CQ9YWW5jsUt1sbV06liwvFiIO4/SaOwiPJ3SC/IMDP5tjshXHP+LYpJFCd5LIrW5DSmkLUsmq0yy3a0n03liaAM8kPWqbe+W/jPgRQArdSfD1QIQ09sA9Vg+/9AYsyGyAV2w9tiQa4V7djllbUlFu7IBPQy/+8GoQcjuO4PO1aRD/pM5OeScUupOgFLoTgMXLWsA8Eg1YH1SGtf6l4pY2OFOZBClyPw5IoTsJvhWMd3bkC6ttzJ5y3Ly1GOv2luDxNQX4cHse3lqbge92F+LFVTnC+hrvUgrdq4H2yyJKoZOQOMtwYKHjX/LOV74R1F/oXvK3n24oOVK9NbUXdxLcYS10P7C9D82VQichcdJo7DyIlIqO85fl7Thy1HL3kVLWbj/dMGJz10G1tT+8vYXGHrWEk4MUOgkJiQseUugkJCQueEihk5CQuOAhhU5CQuKChxQ6CTOam1vQ1t4ueY7Z3qF84Vpi6CCFTsKM7u5T+yVL4syAxU5iaCGFTsIMKXTDA1Lohh5S6CTMkEI3PCCFbughhU7CDGuh6+7pkTyL3L//gDryUujOBKTQSZhhLXS9vb3qlcTZQGtbm3olhe5MQAqdhBnWQtfTI4XubKK1VQrdmYQUOgkzBhO6Y0c6ERIaiupmJf5InyXdidDW1ISqKqPqkxgMUujOLKTQSZgxmND1dVYjLikRHR11iE9NQklRFkLD/RDg5QvXnTvBnyfd6xGAsNgMeARGwz86CbllVUgI9kRuRhoiI5KVgiQGhRS6MwspdBJmDCZ0B9oqkVNQiDpTBfoOd6KyuhThUSGIjU1CcGCcSLPPOwB5JZXIL29GfkMXfP38Eey1B1mZ6QgNSRBpJAaHFLozCyl0EmbIZ3TnDlLoziyk0EmYIYXu3EEK3ZmFFDoJM6yFrqmpGZ2dXZJniY2Nlr8fLIVu6CGFTsIMa6GTOHeQQjf0kEInYYYUuuEBKXRDDyl0EmZIoRsekEI39JBCJ2GGFLrhASl0Qw8pdBJmSKEbHpBCN/SQQidhhrXQ1Tc0iH9oLnl2yOOtQQrd0EMKnYQZ1kLXI79eclYh36M7s5BCJ2FGP6GTLwyfVUihO7OQQidhxmBC19tSjpbOThw42IOwkBDU5sXA1FSPlPwqFGYkgz8ZmZUcj/quI0iKCkXPkSOICI9CT4sehZVG9B3oRteBXnS1NSK1QI/c1ATUG8ux3clHqUBCCt0ZhhQ6CTMGE7r9bVWoMdbiUG89jqIPpRUl8PXagSBfP4SHp4g0ofGliPYPRmpiLKJzDRTvidqaAvhHJ8N9rwt273VFWHgQjFlxiIwrgE9YImJDIkReCSl0ZxpS6CTMGPTW9VgfsrKyYWxuw9FjR3D48CG0d3ehuMqEtlblT/O5uwfjwDGguKAAXfs5fR4OdTfD2NqLhoYGNDc1A0d6UVXfQZu6A4d7WqA3tYi8ElLozjSk0EmYIZ/RnTtIoTuzkEInYYa10PX27levJM4GpNCdWUihkzDDWugOHjqEgwcPSp4lHj5yRB15KXRnAlLoJMywFjqJcwcpdEMPKXQSZkihGx6QQjf0kEInYYYUuuEBKXRDDyl0EmZIoRsekEI39JBCJ2GGJnRHiS2JDmiK3yh5ltiW5yfGniGFbughhU7CDE3o+J90Ye0fgU1XSJ4l7t/xgBh7hhS6oYcUOgkz+gvd/9ndkJJnhvudHhRjz5BCN/SQQidhRj+hW/1bwOFShRvtUIs7lTT20p0o/rhp/o5mh+so7DJgwyVKHLsU1+xwE7D+L+T/myW9bTlMc1kqTyaNvXQnij9Bmv3b7xVjz5BCN/SQQidhRj+hW/UrEom/Dm+u+g0O1Yfi8KqL0FsdjAavUeitiMVh1z+iuyYPHYZs9JRuI8Ej8bOXfxhx/7a7xNgzpNANPaTQSZjRT+hW/A8JxEXDmyt+gd6meDStvQntEa/icGcZTAGf4ajH79BjKMGBhlj0dqeSINrJO8y4f+ttYuwZUuiGHlLoJMzoJ3TLdcDa36v8gx1qcaeSxl66E8UfJ826PwIrf0Euha36JY6uuRoH8neTcJA1upKEmuNIDLFusHKYWtyppLGX7kTxx0+zfwvdaquQQjf0kEInYUY/oVtKQrfmNyp/bYda3KmksZfuRPGnkobc1SRyg6bTwq35Q9LYS3ei+OOn2e94nRh7hhS6oYcUOgkz+gndEhK61b+UPEvcv/kaMfYMKXRDDyl0EmZoQneIeJSE7ujKn0ueJe7fdrsYe4YUuqGHFDoJMzShY/C/jpA8ezxG1CCFbughhU7CDGuhkzh3kEI39JBCJ2GGtdDxZmvv6JA8S+zs6lJHXgrdmYAUOgkzpEU3PCCFbughhU7CDCl0wwNS6IYeUugkzJBCNzwghW7oIYVOwoxzL3RHsDKoFom1+5FUSpv96GHUdR5CjkF5flXQ2Iet27PpSvmN8hj9l1N3AF09B9Gz/yAam7pFuKmhU/ySmVPWKvwplV04tr8PLQcO4dgx9TfOw4dg6j2KOlMXDvQewLbQcqx0K4RzYr3Icy4hhW7oIYVOwozhIHRTXcqRXVRN18fgk1CGkqIqoLcZO2KLcbjagIQo8hNCk8uxN74YaKjHnvgKRCaVwSlUiduX1Q6v4Erk5hrgVdqMpd5lCE8sQVhxK1x98rApohjLYyqQFV0Kl3gT1ifWYUtQMQ62t6Cijd8iPLeQQjf0kEInYca5F7qjqO/mP/t3DPPcS9Ha3Ipjhw9iwvokHDvUi7XRRhTn1IqUq1wKcOxgL1aG16K1thF7kozIUC247zZlo+XgETiEVqOqsRtLA6pRVGREkr4H+xJNcEszocPQCN+iDqSVtqI0vxZemQ1oa+sU+c81pNANPaTQSZghn9END0ihG3pIoZMwQwrd8IAUuqGHFDoJM6TQDQ9IoRt6SKGTMEMK3fCAFLqhhxQ6CTOamlvQ1d0teY7Z0qr8qCIxdJBCJyEhccFDCp2EhMQFDyl0EhISFzyk0EmYceToURw5ckTyHPPYMevPcEoMBaTQSZghf3UdHpC/ug49pNBJmCGFbnhACt3QQwqdhBn2ha5cZYfwSZx5SKEbekihkzBDEbomou4k+Avir1S+SJxmwwXENhtKnAyk0A09pNBJmKEIXQtxoLBVN+jgnaSDV6IObnE6ZFYMTHNiSpwMpNANPaTQSZhhT+j29+ngHKnDxkAdRkzXoa5VB0OTEsfCxwJonf74lDgZSKEbekihkzBDEbpmoiJMvSRyMfk63D1Rh/u/1uFOcl+er8MdX+hw42c6/Oc7HfL1OhQSLWJ2PEqcDKTQDT2k0EmYYftjxI7wejw/xwN3T3IhcfsLcqt0eITE7bYJOuTQ9VNk4d00TofQTHuiZo8SJwMpdEMPKXQSZliEToeCGkWcWMg86RY1sUiHraE6PD5VRwKow066nX1osmLpvblEB5cYW1Gz5k+IS4gSJwMpdEMPKXQSZlgLnWusDqmlOtzzpQ4znHU4clSHzzboMHmbDhUmErfFisgxr/mExDDRnsAx3yJKnAqk0A09pNBJmGEtdLvIYjtGLj+Xu+8rHV6Yo0NKiSJoJUYd3l6mo1taHW6n21hO75FgK3AaXyFKnAqk0A09pNBJmGEtdPyL6shFOjz8rWLVmdp0CMvW4R0SuJfmKWLX3qM8r+PbWCl0QwcpdEMPKXQSZliErg/hWbMxweFb3PnFbWjs+B9c+p4OXft1eGuJDu+v1CGcRM8nRbH4QjJ1WOZpT+SYUuhOFVLohh5S6CTMsAidgn0JjbjhU7plLdWhoV2Hp2cor5awNce/wDpF6HDTZ4oA9vTZEzn+EWIbUeJUIIVu6CGFTsIMW6GLye9CVO5PcO0nOtz6ufLDAwsd85bxOtxF1tyWUB3W+1uL20PEvcReosQPgRS6oYcUOgkzbIWOEZCmg6FFB39yv91OltsBHd5ZrsMDJHp7Y3XYEGAtchJDASl0Qw8pdBJmWIQunDhapQ7HjumwxkcHzwQdAlKVZ3JbQnRo6bIWOSl0QwUpdEMPKXQSZliEbi3RVsROhhJDASl0Qw8pdBJmSKEbHpBCN/SQQidhxg8Tup8THYgSQwUpdEMPKXQSZliEzoVoT9SYt6j0JkqcCUihG3pIoZMwwyJ0EucSUuiGHlLoJMyQQjc8IIVu6CGFTsKMpuYWErtuyXPM5hb+yrPEUEIKnYSExAUPKXQSEhIXPKTQSUhIXPAQQichISHxowBZddls2UlKSkpKSkpKSp5XzFbNOeUx3QLHYMwnzt0cjNnr9iE8MRfxmaWITS8W5Ou4jBKM/eI7PPT4M3iQ+N+X3sCI517FE8++jAf+8xSefO4VODi5I6ukFglZZSI9541JYxYJVysvluI4Pi6jVJStUcsTnVqEqJRCMyOTCxBBDE/Kp7ZZGGbF0MQ8hCbkIYQZn4vguBwEEQNjsxEYk40AwSz4RytkP4cHxnKaXOH6k98vKgu+kZnwicwYhJkiXpDTWpHz2qN/DJUdrZQ9gNSW45LSaOVz3X7ROXD1j8MurygKy4Z3hNIm7/B0bPNLQ0jQUuT4XQNvvw3Y6psKP7WtnG4w+kRQuRHpcNy5F7uDMkV7vQIjsWGXF/ZF5VE9PB42ZYQz0/vR6yyT6/SLyoDTXn84uscigOaa2zpgjM8CA2jMPEOS4ewVKcaPw6zXBsdzGK8hjp86bzUmTlkg4uz17cwyA760tnbt2Ycp0xZjznp3eERQ22gN2M5pf2rzfnL0ozXvY14rP5y8Pu2F29IrLA2eoanwoHlYt9MbCSmZ4jHdkSNHcOQokVyGceVapP7uz8i66gZUf/E1+iqrRHiTkzNS/3gJcu+8H4e6unCUwkRea6rlmK+t/UeOWl2fAgctQ7k+avafAn9wu2zS9iunP0+9XVS2OmbHjh3DwYN92LLLA5v3BMItMBH7wnjuUrFhx144bHfB0o37sNyB4nfswZbd3kL7eP9o2mu9/2xp2XucVtVrK/bTdKGBtF5JT3d7BmC1SwT8KY/12u+/f9JUKn6RhvYOl6G0baAG+cfkwjckFouWrsSURduwKyBDnE226c49s+n8zMPoKQ645dW5uOftxbhn5Bx8NG0zZq7eixk2nL7KBdNW7iHuxrQVRLqesWYvvl2yCw+/txgPjV6JR8YofJiuH/xghYWjFfchJsU9/CGnW4X/jFmNRz5ag/98zFyLR5mfMNcp/o+0sHXC5bQPfbgKD3ywEve9txz3vUsk98EPVonwhz9cg4fHrBHpHqG8D1P5D45ehfspzT3vLMO97yq8j3g/5b3/fW7bSjUvtYXcAaR2auS2P/gB5XuPyiCy+xCV8R+Ke5za9+Rn6zFi3EbBp9j9bAOe/HQ9HqM+cV+5/w+8txT3vrME94xahPvIZf+D71M5VO5DNE48dpxOq4fn5c43F+D2N+YLo0415xSDbuL87Rg/wwGTZq7DTvcgeAXFwt0/agC9guPgF54Ef2JARDICIpPhT65Gjt8XGAOPgGiR3s0v8pTo6huJvb4RcPEheodjj8rdXmFmOnsyQ7FL4z5miOBOD4U73IOxwy2IGIztTNdAYhC2Ebcy9zIDrVyFW1wCLNwTAMfBaJ3OhfKJcgbnNpXCr7XhFGnOT+3kPq3d5o6Vm11JDG3bF4jNLmHC7R9+HFI/BpLyc98ELX0VcQPKIIPKhptVmv27+9PRhtZhtmmPR5FHrUNrp2VurcbPaixPhpx+sDz95tPMQFpvIXRT44VVm/ZiK42VKMMmDYdrbdxG8yjarvbDtl/Wfi3Mmtbh/dJoY34caml+GO2tgXNL7vvGnT5Yv8ML67a6Ijk9SxgNhw4fxuFDh4R7iF3iYTbUrHjo8BE1/Jg57DCnP6ykV2jJb7m2F2aPHEek8g4zbcIGy3NYS8N+Tqfltc7TL7+adgC1cNt4tXweI61sLYyvrcbMOq+lXVo6Je+AtvWjltZSztGjR9Hb04s97r5Y4bAb67Z7YqOTNzY5+wqt0fYb75fNu/1onpX1Z9nn1nvLQm1/WvaeReOZiqZZ65pKWkcW3bdZ8+reMu8x9drevhNl7VVobpfaF6EfVteDhQ+WxponStMvXh2P/npkoXXcdlfl3Hzjs3m47qkv8O8RE3HtUwqveXIi/v0khT05AVc/MQFXPfE5rnxsPK549DNc/p9P8c9HPiWXrlX/5Y+yXyOFUfwVdM0UfityGVc8Ok4llUnlXvnY5/jX45/jKq6P6r3qiS/IPwH/onCO03iFDUU4pTPzMVsq6S6neiwcJyjqVuu/4jHyazS3zdLOKymc+8/8lzW5zTQ+3OZrtPF7ehKuIV5HFGPJpDjRL0r/L3Mdn+FKUYcyhmK8RJhWn5JGG9cBBh1IyBSQSyLIQsjkayVOvbaK4/+0MI3Hjh0VNIeJNDZ+jSKM74HVa3OYld9emHA0P0MNH5QMe+G2lJCQuFCgGB39DQotTDHW1Gs1TktnNkxswu2xX1rVkLHk7X8t/GZjp3+5moEk0ou2qXHCHaxtljBr/4DwQQysAfkGTae0S6Qf1MCzdtXwQcoz95OppjlyhE1sCQmJH4IBBt3+/fsH8oCdsBOw107Y/v29dsKIXL5NHQf2H1Cue/uHn5hqvh/AAwcOoKenB8XFxeIfVR88ePCkWdxwEDeuPYgbiDetk5SUHIyXLjuIqaH295GkpKSk5A/jAIOODRpb8ufJ2OU7qI6ODvJ3DUhzsuyivF1dXcKAUr5GQ+Hs9nRb0qn1cdgBMvT4Ljo3Jxe79+yGi8teFBYVCWu0orwcbW1t6O3tpfRchpZPLYdJZbNRyGka6hvojvAwvL28UV1djb6+Pks6Zm8POto7YDAYRPnWaG9vR25uLrKyslBRUQHx1NIKFW3A3VuAuxyB2zcDd6i8fRNwm3p9G12zX4s7FV63DrjZQSn/lg3kJ5rjKey+rcCdVunPJ/J43U3tf4BoL/5skefm2rXA1cRr1yvjyWN9FfmZN/PcEa+nOPbfStd30tjzvP6b06wBbtio5BN56ZrLsVeXNbn/920D7qf1Y712zKR5v5bmn9cRt+cGIreB6+V4rovXxy3kv/9MjSGVfQ3VcSe18T6i3TQ2HGxe/0XjNCta3TgSEhISEkOCAQYdG1udXZ0q6bqzE0fJeElPT8fIkSPx8ccfo6SkRM1+DEePHEV3V7dIx3m7OpmWvGz89apP2foO9sFkMiEtLQ2JCYlobGwU701oec11qvWzIefp6YkRI0Zg+/btMBqNMNWbsGTJEjzzzDMYN36cMOjYGON8lrqJosxuHD16DL5+vnj11VfxxhtvYNy4cUhIVOpmA66T8nD6LsEuUV6toVbtn4LmhhZ4uHgiKzUbbU0d8PcKQEJMkhqrILcB2EZ25kYK5gP3VuI1dBBPLQCcApUDeGseMCcCuJEO+puJt5MxwIfdTXTN5AP5ATrY+YAWxh+5t1L4/XuBVCPw7k7gUjpUd1YAG6icy1eTgUfp/hMAZNcDr1Deq6keNg7uprxsALKRciuXR9dsELABYn24cho+pNmY4HbdSn5276cy7qW03Bc+zLltt1Mcp2dDhsnhnNZcH11r7X6Q+sX94Do4jMuzbhMbR6Kv5LIR9OAu4BmiZvDyeNxBbeLxuYXyiDBqC7dVjBldcz2a4cTlcnl3U5u5HVz+Q9uVNnNZXC73nw2eGynvXVTOPVwmt4fcf5OR8XUMkEO2/Biar3wT8LEvsE9PcxoF7CgHvFKojTQX2wsBUzPw/m6aDzLkltO8BtE8z0sDsmhuHqTyrqTwJZTOI1kxxrS+mvtPLo8Jz9/11L4nqKyndihtYyOIjSZuFxtq70UCyVTunTS3y/NpPWUDIeR/yYnSU9g9LkBUFbAmFogll8dAzBnVwWNxC5XDY8FrgPvL88FjwTcBPL88Fjw3HMfzz2P3ILVNu76J2vByMBBOdTqUAb6p1L9VFM/lUjoul/vDdXGYllesZ5rTZ52VNNr6voLyTqMxlZCQkJAYOgww6PhJlDX5Md7cOXOFMffVV1/hzTffxKOPPir40EMP4amnnkJeXp74udI2Lz+Bq6qqQmhoKKKiohAVSSSXDbqS0hKkpKSgoKBApLOXt85Yh9GjR2Pnzp3iiRgbafxzaHZ2NiorK4Vh2U4GmG1eJj+Z46dwn376KT744AN89913mDdvHiZNmoTXXnsN69evF3XwE0frfC0tLait7W/Q7UxbDefqeXAzLIZL9QL4NKzE6rTJKKtXnhQycsmg2kCHenQOHWZ0UAbTgT/PFfiyFPAkA+GvK8g4IKNgXhgdonSAlnYAM7zokKZDOY2MtRVkLFS0ApN8gBFkuL2yD3iRDvlrKW0QGRXjqax/0EE4l8rfFU1GHMXn1QHP0+H9Mh34BdTkcXToFrYAC8MpTQ2QQna3Lx3ws7yBL8iwCCRD4DEySL6mNoz1pHzuQFU7GS5Uz2N0nU3tWETpEivpsKfD+Q1Kl1YNzCYjNZzyfs6H8GFgcRDgRgf7OgrPo/pmUzoXaktYBmicAP90yxMlNqZep/q/CqExISPJncpYSQZBGuVnY2U59cc3k9pDxk8sGVTXUx9vJ8MmmtJOpzby+BS3AR/4UTrqoxfVwYaTkdr9HxqbK8igWVBMBg2VwQbaIzR2TjTmrlQHP2lbRuXuo/Ysp7GIpLz30JgbeoGJe4DJXCeN+1NUx0jyP0JMonkrpPoiqF13kxHkR2Oyj9JsprS11NcnySC5geqJIuPmHTJW7nejcaO+v0MGy7UUF0nXk6kNo+OAUBqzq1dSHBmGX9GcpDbR2NFYzaAxzqF5uZH6P4/aFER1uVL7ptLYONH4xZLR9iK15R4ytp6gsYujup6jNfUezbs/GZwe5PejpccG4NXUlkCaa57D16ieCqrjUTKcNtCYuNE4reL+k6F3FY3TKsqzj8bFhdahSwLwNM15M43FO9Te5dRWd54HylNK6+1Lmq+yTloPtKaup34mUru43JlUhmsi7Qka481U7tXUB0cqbxethTUU505zeDWlc2ukdLSWP6S+BFHfN1AfE+j6FurHXprHqlxl30hISEhIDA0GGHStZNC0thJbWgVbiPx0rbS0FF9//bV4ypWYSIpO4HD+KbOtjdO1oIXytbQqeYRL/rZWi8HFP7dyObGxseLny+amZsWIEvmUOpX83IZWUXZkZCSef/55zJw5E5mZGUhNTRVG2csvv0wGW40w8rS8Sn4qS73mn1Q3bNggns65uLgI4/Tbb7/FO+++I4xJfnIo+qrVT3U2Nzeh1tjfoNuSsARONd/CxTSFDJfvsa95JpanfE5GlOVUymmgQ40OuW10WP8fHXJbyMBzICPs8ywgnw7rh8iwcaQDL5wOtRF0+OaQ0eBBh+t0OkAzyYD6jAyNmWSYLab08XTYL6bwyXSYbqADeVkA8HcyCD+hAzQijw7Y1WR80GGcSwbGYjosN1L5nXQ9kspgg2I5HcaTqayRVP81ZGTk0aFdQgbUXXSo8xMZ/unsSirjSTJG9N3AJjI++ClTEtX1BpWRSm2fHUoHNrU3krr4b0q/h8ptIz5Ah7/+CBlWtATupn6k08E9j+r7loyR58kA204G0E66vpzyOFBfFtN1DqWZS0ZtFPU5iPqwiPKW03ix0RDH+ckQ+ZQMkHCKW0LG0yTq91YyWoLJwPiGwhp6gFEeNH7UT38q8yMqazKNyVdU9iYyciaSm0uGzlRq81Qaj8lkXKSTkfMp10lTOYfqWUxGh388GYBUTgb1413q/2s0F0mUlo3N9WSIzCOjJo3CPqKyc6ldn5Ix9bAzjSO1L4TKW+BPRioZke+TW0KG07IIMrrIoF5DhnwEjdVSMs5CqX1vUb3RNN63Ux0vkiHKP8dPICO4hIz4FTQvX9N411D+r6ifkTQOS6g8NpDnUfvGUPsnUnuSKXwptSOA1gIbXJevISOf/Gysz6Y19l8ymv5GYdsp3yoqW6wPysdG/tVkFC+gNkXSGppCdaVTGWMpTQQZyXPIyPKg9TaPyrmP+lZG6+YeWpvzadz9qe9v0BgW0ph9QulmU5rnaP0E0NiOc6GbEn4aSXl9qf4plD6JxnQs9SGJ6vyO0k+l/mdT/BfUjkJaVztoPYyhNRVGfd5G62gb5eG9sZzGsovqkpCQkJAYOgww6JrIoGlsakJTUyORXQvZ+OInWm1k+ChhA9OciJqx1tLcbDdekNqgXbe0NIsnafzeWmRUJGKio6HX14gncM02ZbCBaPE3ivYmJyfD3c0NGRkZwh8aEgovTy9RXisZm9b5mY0NjeKnXWsklUdiS+wKOMWvE9wetwYuyZvR1tuspiADpZUOvGXAJcuVd6n+Rtd/p4P18pXAn5Yo1/+k698tJAOJDuMEOgTvIuPqt+T/G4VfTvF/pnQXEf9B/j8vBu6lA/dtMsoupbKu3EyGBh2at1LZl5GhwO8h/Z3q4vR/WUrpKc0VFP4PCuP6LqKwS6lMbstf6foSOvA5z5UqOd3De8igosP6Crr+A9X3d6qX0/yNy6U8zMvUMjjsL0TOy/Vxmzlca4OW9u/UDo7jci5Wx0Arj/v3S+rvMjr4N5FR97M5arsp7WWU5hLKx2N4EblsFL3K/ScDI5oM5QfJ6PirVheR6/gH9YnbxP2+WG0vjz8bq5r/L1Qe+/9BLj8l/Re1h9v1T6rzcq6TwtgYupiuxRyo+djP+XgezX7Oo6bRxpifmvJPiNy3/yNeSmnGkOF1OxnPPB5cxiVqmdzu3y4gY4sMmx3E/2fVf+7bpdQnbTx/T+mfJ+P6JTKoeF64bu6nxkupzY+QkfUOGeWX0TXHX0bpuL889jy/F1O49dhwnKiLXF5j3DYxPpye0vLY/YvCtPbymniRjLLnyKDkMdLK5XHkn1x5HWhj8zcKe4luMsYQn9pHc1YNvLmD+kdl8LzyGuA0vGZ+OZdudMjok5CQkJAYOgww6OobGtAwgPWDXJ8KTyFfveIqbWkU5Ov6+lOpm/Mp16KcfmVSOapfYf9y+SfXg4cOiXf4mPwhTH5X0JZHDh8xpzl2lP+5/SnwVNOfKQ6Xdtghj+kpj6vkOaWYr5OcM23vSEpKSkqePgcYdPx0ylhHNNahTrhGcuvUMCXcyH6O5ziVlnwWauHCVcvU/OY8Ik4t3yb/gDD12lKu2kZzGqVtIlxNJ9Jal6GFCVdJp8QrbRPhVAYbjwoVQ7KejD5L2BDSptwGK1e77k+1PcJlA9U2/vQp6uVy2dC1DbdyLW2xZf8xs98PC08UP4CDjBnXK66POyb923a6HND2Qdp24j6eTLsGG++ToFqudTsGbduANpzafJ4yRbmWvg1oI8cPaJNGyjdoXH8q5Z7iGNqUrbXtxGPQf8zs8xTbYs3jlDtY2/jGVbk+mbadBkW5lr5Zt8d8bbduzkM8A+0arF4t3NLGwebk1MbMus8nxUHaxfUOVtbZnU8LrcfMftu0MWSXeAbaJerlco/TNiVssLHpH26/HxaeKH4AB2kX1yuuB7THmoO1eSBt2zXAoDMYasVnOxTqoW9uJrbAUGuEvq0NhnoTDKZ61PA1hYl0tVp6A2pt/FqYQipbjRPXZvZPb806Yy0ZWQaUlFcjt7gKxWXVqKiqgamuVqlr0PyWujTWsv94bTOH16KFyjdS2oiCGnhnVyOtzIAmUxNMRuq/OR1R6w+PT2UlKkLCUBEcSmRXua4U/lCUBwShOjcPtaa6Ae0w1RnQ2WSk8muRXVKD4IwK+KdWoIH8DdQWvZZW5Ovf5zoqr7GxmdiistFCk4Hy60X7LHmOP+bmPtn4NfYbM3Nano/By+XFxoYyk38OZ8N5YDrOP1gZlrqYon72D9I263LstU3ktfKbSeHc1kZ+WtuokjZWI4e196KxpQ2m2hq7+az9lrZR3bVK/eYxs0qn9bmWxiMlJRUhIaEICw9HcHCwYFhYuPhHRfzeqkhnk5/XS15xJQIT8hGYWICQlCKk5JcjvaASkeklFJaP0KR8sWeM1A6Rz7atZlrKVtpr29ZBaFOehUrf+NpE/WulMc0uKUZ0Tg7iaB+kFBaghYWI1oRIbx4zC7W51Nc1k/Y0w1hZBqOexr+J9KeunuL0SrpB20CkfWCkemoTk2EIj4KpuITycp32+8c3hYWxscj28UGBnz+K/QNRFhgk9m+Fqwdq3PfBGBtHdRqVMVLr1sYwOqMUAYlF8I4twL6YfHhE58GT3JDkYgQm0fzkldM+GHxsTaSv/DUA3iONjaQ5dG2OtxkjMT52xuyk5nOwMRssXORXylDmhbSH9zOdER29PTCUVyA7NBLFKenidZbWznZxKFmXobWNr/mLBc2trejo7kZVXhGyQyJQkZWLts4utLTTPhP9VubXTNE20kR1f7KWtDQrr9vw6zKNFMY08fzqbfNR3bQHWBe1vd1PKzk/kW/wRVpzf/uPG7e/qbYOJfpqVOn1aKTrwceMqY4Z1c3awvNaT3PMc8vva1unPdkzynY+hb7SOcAcoK+Dto3zq20bEEe0bYfZb8nDbTDVN6KW9mJtXQPV39AvjZl2+mQv3EKb/La0yifKslO+1j4tznbMjktzeZSH5qgqJhaVgcGoUs9zdquCQwQrAwJRTdpSy2vOth3stwoTr5y1dKK9rUNcm9PZa5tNWScMp/wDDLqamhroa/SooQTVtEj6Ph6DvjEfwJiZATx8J1p370SjszMOPng/jGlpIk0NLWpmQ0MdfF02wDMsjSxH7hwZRXUm2ph10FM8L2gWKxYzrqOO8rJhptRZYy6H35HjjVxJh9De8Hw8MysOT8+Mw1tLEvDsrFi8tyIZM5wykF1QLowug8EIY1U+tm9cjcSCKrE5SzLDsGLHTpQb+A6BSPVWl+YjISQSIaHhiKaDzmSidqj1KaQ+GPVIKanG3c5lmJbQgKr2PnT1HYF/qR6Pr38I0zw/pzr5MDCIPoj81HYD1VGZmoakK69H4iWXI+mf1yDxsn8j8VIiuUmXX4v4312Moo2bUdvRbu4n5+9oqMXO+DLoPkuCbmISrlqYjd9NTsKvvkrEvHAjpngWosVE48cGtnV7qd6qaj3aWqqBg9lAZxTQFgn0VkGAP5XXWoUjFTFis9WQwJkMZXDetArhmcVoonGqLojHiq1bUVhDm7GWxJM3ZVkmvp/6FSZNmY3IlDzasModg5EWNtdZXVOP8pxoeEbEor6J/1UwzRvPodq2GrVtSh+Ved/o4CC+H5iUmIRZs2aJf6RSXlYu4sS883owGZER4Yvp307GNu9oMnx5rZio7gboy3Pg5R2FksJMOK5fCzd3J0ycOAlzV2xDQRnlVdPxemDj10hrjtdWZVUV9LwOjXXCMGsgYywy1APR2eWopxsFbqu27rgN3A/+xzO2ONpYgp5vfoHDXp+j9yho3KvVPiv95rx8baJxigiPwNSpU8XndfizO9OnT8fs2bORkJAgDkCRnshjxNf87iYbcf+84l/497XXY9u27WJcmK6urrjx5ltx8d/+AXcPD/H+qZaf62xvNmGDZxLumOSBgEyDaGuuoQ0Vjd3Iqm7F9qhSPPytF2LTCsmwJwOExqmiMA3rl87Ft9/Pgmd0utiHfIgJI4LGj8uuo7FvaW1G5O4VmDR1JQpqTHRwt6M8O0rMu9HUSGk4fa0Y+zoed7U/lrFU5r+eDpfFAf5YFBGBLaQZi8mdFRKCxZGR+MLbC2N370ZVVTVqRT6aDyZdc15DbRPqCrzQ7HcHekO+Q6GPE6oDdqBv+Ug0z3oGteUlqKH9qI1nv/mk9tWT8Wh4/QMYdrujnm5C41NSkJGVhS7aN41kgFSLPaXWqbbfSMZE0IsvY8///hJ+v/0TIv73D0j8/Z+R/9DjaCNjMOWFV5B457205+vFWuM8TG1/3j8lAEu8C1Hfvh/7Dx5BW89BJJU2YWtEOV5bHo8xa6PR3kTrgOtT69TGjNeCs/Nu8TWA8vJyLFiwAJs3b0ZWdpY4pIU2iz6ScUA3ahHezpjx9ddYsHYHCqpNyh079Zv7xAcMv3pirC7Ens2LMHnuEiTlV1C88gsEz52eNMHI+5ddLr+6Sqy7rOQYBIRlkMFFRgf1y3o+NfJ47e/rQ8A3szDhN39B2PylqI5LQbaLJ5Y9+SzmXHsn6vNLUEfaaJ2X228gLdnf0YUtL4zC5MuvRqLDNugT05GyzRkzb7kD6x5/Ae1GMgb5fBB5LHWyq/xlIdANTCscPTIQlZSCzIJSJGXmIyolF0VllUq7qS6lTj3pVrVYq2Z0t+FIWRkOUtus0UwHLa9Hs76L8aYbIhqjOjo0XYrS8HqKJ56Jd8HT8Xvwfqo3Aktz0EjnEK9hrT7rMeMxLSwshAPpIGuAD90ssCawK+rgtcNpqXx9RTFC9nmiQE+6V5iE8JgoVBporal9sbRLIc8bl5ufn4+U5BRR7m7aU6VlpaJeLU99owlhzisx6auvMX3hGsRmlKG2IBEr1uxCgcFE52YDUgM9sHuXG1x9QpBbSoZiTSmCfd2QWUoaqq0DKo9pJOMtNSEKwVu+hiFxNSoiF8B77XgE7F6DwN2rELBrBfKzUoXmcL/qqovgtHEVYnPLheFcnhOFFdt3oLSWdJv2US0bg0UpmDz5C3w1fTHic8pIk4xCi0ykT6L/VA7rPBuR5Tkx8KCbAL2pGc21JXBcuxkhmUrZlTnx5HdCkZ6fYlF6KkeMFdXRpC+GX6AnssvJsBYGNbl0czFgnfNa4/1N85X37EvIuvQqZF5+DTL+fiUy/nq5YCaFZfzxEhSM/gSGNkWbtXnitcpzzYbbhAkTMG/uPOzZsxdPPHkN7rtfh6ee+hWdDz7i02nKurbkU7RMaYO1pom5F+Q0XFf/Ng8w6PhfjvLnPmrIrTfU4Tm3SXjW7VMylEz4xdyDmBl+FAdSJqB9iw764ihU15JRQGlZ3BNDvOHjHwI3EqT0ojK4blyDuXMWYNp3cxFIh9yqeYuxdPFczJztgPCQvfjqi0nYRQe3gQ7bGqqTNxzXzeUZDTVIzi7F9B3peHFuHFzC8rA9IBdOQbkYuShehDn4ZImNx5ZpdVEWts75FnNX70B+cR52rZyPT7a4o5gEf8usiXj7o6mIjIqF50I3OLk4w80vlQw9o1qfQgPVX0HlPeJShk25LTh0xPLx4PKmEjyz4R48tOo6rAyeh5a6FjFGWnv58CiNiETl9DlookmqWbQM1dR344bN0C9bjbJJk1H5zVQUb90BPU0w5+P83O9WUw2c40uhG5eIXVnNdNAZ6ToOv/4qHq9sykJoaSdmhxjgkViCJqM2P0qbK6r4yUcy0JdCAkVuawzQEIpjNT44WumHY8ZEHCoOhr4kC9V6umurLILzoumYuWQDsosK4LlhCT513AOnrY7wislEcogXdjltxgSHXYj2ccasrXuRlxmLyZ+MwtertsLHeS1eeu0jeHluw/dzZmLWNxOxapcXammD1dD4ae0SVOeTD42tZDSWlpaIRVdEhh0bN1u2ONJGq1P6QwvUZKxGgIsj5ixYg/TCGpSmB+P7bz7C2x+Ox74AH2zdvAeLvp2AD8ethI/XRqze6w/vHWuwlcbbec0yfD9tKlY47ESUhytmvD8Frnu24dHXXseK3ZFICHbCe2+OxHrPMHi6rYV7fCEayXgXc8f1i/bWiDt//pfUt99+O/75z3/in5dfjscffxyG6nJ1JfA5QMY7HXxKP9nA5faTgUAG8uTJk3HllbThMzKEgM+ZM4cO5fl47rnncPdddyM7K1v8zC/6LPJXCyENDAzEAw88IMbhscefxG9//wf88U8X4eZb7xBjNuKpp7Bz1y5x2Cj1Kvn5BiQgIR/fbk9CAxkQs92zMcs9C9NcMxGSXYuO3j7sCC9CbhHd/JCxXpkegFlb9kBf34ymlnbE+6/HOjIg1346EzPmfoelm/2RHuuLL8Z+gjETv6O14AmP5SFIS/XEnBnTMHvqRCzdtQ/7dn6LRctozKdMw6J5U/HdCgcUk3ga9Ja2sWsiQUzIy8f0oCAEFRejiAyWJZFR+I7uajNJ7GIqKjCGjFav5GSaDx4XbU9V0wHagLTSIGzLGont/u746+Nv4l8vvIO/jXgd93w0Ga05sTgQ5Qw96UcVjZuST51PcUDS9dtj0RUVhz1enmJ8C4sKER0dBX9/f/FUVKvLrD2Up5aEOeCFl7HlZz9Dweq12N/ZieSHHkXmE0+hPSwC2b+7CNkPPyH2fDXNu1aGgYSX3fu/C8D6kFI0dR6g8T+E3r7DaOnqE8bd51vT8f6qSLTRTZySz9JfMZ+0/vbu3Su+lcmHQXFJMfLy88SBzZ96YtGvpv3UUlOAVY5rEFNkQnLgDsxZshrlZKS6b5yFkR+MhWtwOFZ/MRFztnmhMDcV65fMx6bdQdTnKux1WIup06Zh7sJNpNf7MNMzGvrcGEx394fHsm/w9ugJcHLbjZnfzaIbk6+wzjsejfVGdU4t7TXROO2bOg2r7n4YrRXVCNu4BTtGfYwYx13I9g3C/oZmdJAuaOnNpDE2NTdj0ytvYPdbo9FcWQO/hcvh9PYnSNyzD/mBYThMxl4LGerixkmlVjc/lU7Nr6d9nYsN7oVY71FC2mVCWWUtGXLlKCihG0VtbrV5JdbS2qysMmDy9hpcNraYbnSK4PfJPBhGPIPyB/6Dwsuugv7VN1FfWIwqMoSUOhU2kXb6FmXi/hgnPBm3G8/G7cHLiW54KXUfXkr3xMt+jnhzwTSk0g0LP43mPJb8ykHNn+javmM7zatRfM6L5zYgIEDctLERIvKwYV1dgKVfvIuJU2fh+4ljMH/jDlprrUJftfZoZbNe8MOFrdu2ooj2l9DXQrpxTkoS+sprSMnDN2k1cF+9HKFpRejrrMOurc5wcffGp4tnw2GnD4qy47GMbj6d9voiIcYH63cGIc5nF3b6RIubAK1ujcb6JgS5bEBz8W6gLQQw7QMMu4CaLcSNMHh/igiPrTA1tYl+1ZTmYce8KZi93BF5xfnYu3oRxm1zxS5HB/gm5pAWsTHpiJHjP8OkL2YgJD4PyeEumDFrKqbOmEs3konw2rMK00jnpy/bgojQfVi9ZT02bt6F2Ph4zNy0FN8vXo8c0hun1UuwdOkGFFdXYPvir/HW2MkIivXH/FnvwGGHM9ZvW4P1W3bB1T8cLqtnYtLMlUjJqxAPNSznOpGNJRrD3BHPIfOSy5F378OoW7pCPQmAys++QOr//Bb5H36CmlZNmxUN4rHnT6z99a9/w5///GeMHDWKzh53PPOPSzH6jXfw1H9vxkMP6eDhsU88reW85jVj1jNLeQq1cEu8Fsdr3Y5BpxWi3KEE5ETDh4SzrioPKFqIlvIw1JYloiV/C/SVhbThaKJqSdhyIjB70QJ4BUcjwHUHNmyggV6xDrNmzMOcecsQHBmOxd/NweKlCzBviSOS0hKxdva3dNe4Cvkk3LzZrOuuq61BDC28VxelYOr2TCx0ycKXm9OxwiMH8/dk4pO1afCKLhAbg632qvxUbFu1EZnpEZj6zRykZ6RgurMb3GkBTJo1D0umz4XL3n1wm7MXO9ig82WDThNVhbxhTNSO8UHleMlXj92l3fCqAjbH+eLhxbfhsVV3YMT6O+BHh1s93VX0y0viXh6fgOxnXkLmg08g96U3UPrFN8h57lXkvfIm8t98Dxl3PYT8VWuhJyG0zssG3a44MugmJOFTj0qk6LvxiWs5fvpZLDxyWjDRuxqL/AtQR20zT7jKiko26BLJoCNjriuJNlY0GXRhZMgF4Zg+FEfLg3C0nQw5EkchLOW0qVasQVpmPBlj3yMhJR3T6UDPqtRjz5rvsXBDAI1lNL7c5UN3551oaarBppnf06E9D5+sXIuwxFjMmjwLe902Y/2+IFRlh2PZ9u0oqaG7SSvBsSaLjGLQlYprFiD+diF/LNosODV091tdDA/nTVi2aD4W7HSjDeuFhfNnYZOTP6VPxPp1e+Dpvhe73BIRG7wZOyMz0dvZQTcW6Vg7by7mzp+HdSRSITu94LwiFG3dNVi4YC6Wrt6CuV9NxZIV8zFpy2647VljZdD1byff7V5zzTVYu3atumWBMWPG4JVXXlF9EB+y5u8gWudl8lMPFugbb7wRTzzxBJ5++mlRFt8xP/nkk7jtttuQmZkp6rDOx4e4eEJ3+ZXw8/MXP7U+8tjjuPvue8UHvfNIoC6/8ioSfjfxWZ1+eakPrpG5CMqqRXZVC5b45MI7jeYsvAQrA/KRWNKA+R5ZyCqkQ46MAX46HuC8AVNpTyxdMBtLHPYgIzYG26a6o6Q6C7u+2UmHvAvmzJoP14Bw+JNIfvrRYgR4O2P2rMVYNn8yFu9wgceu7xFbQKL8rRNyM9MwjeY3poCNMGshUp66ZZBhu50MlJbubni4eSE6fDTy0j+A5z4vNDW1wDUnB9FZWaijdWGdt4YOoQp9JXYnvoycpPmYOHc1rnrmDdz08gdw8duHQw4vwrT2M1SRcWqdT5APOhqrhq9moHrGAtT29uDLL7/Egw8+KOZip7OzeJo6IB9R39qKxGdfQNaIZ9Hi4Y3Kdz5AV3Ao6l54FS279yLjf/+AzP+MUA06S3+FAUl74OFpQXhsdgQi8+qRWtaMN1bEQd/cg7dWxeOSjzzxuUOclUHXn5pBxz+x894wH9g0vvzdTfZzOkOdCfnxwVhA637JiuVYu82B5sgD0ydOwSy6mZ3lEYhwp1WYMHEO/ALDsXX9MtpLS+HjE4QdDisxc+5CMsgdEZcQhVnfTcOChdPx6TZPlCYEYNr3M7Bljyt2usYhPz0Eq9Z7o7ZBvem2Ym1DPXJ8gvH1b/+MPF9/VCZlICc8Bpn7/NFDh/2WN0fDe8JUutmrN7dbo5HmJmrlBnz3l0tRk5yG4uhEZIdEIj8gDO0GI1Y+/Axi6Cahlm52rPOx3nNZgPKEbtEOWu+xteIfrh3if6R25KhwW9vaxJcMbPPy3lPQh8NJCah6bwyKb7odvfHKp7gY/JTUdn+zn795WpieReebB/Kp7Al7HPDehM/w6Qej8TFpBH90n28GLUaUhWaDTtU87gM/EY+JiYG7u7uYd04nDJ+SbGxfthK5dZ0w5YVhz769KNUrN8y25TK19cHfaOVrplaXRWtqUN9oxJ4FX+HLaXQOL5yPLd5RKMwIxWSXQKSF7sR389YjIzoEWzftQn1PJ5yXf4fxs9eiloxv27lnskHnv3s9OnI2AbXEKtLMitVA8UJyl8HkOxZh7nTT3kgGHel7dXEmtq2kOjKiMe2bGUhNT8OUrTtRRGOxdem3WLk9AtX5EXj9i6+waCEZmd7hCPfaRmt1JuYuXgrvsFjs2bQQs0nT56/djigy6FZuWo21q7ciPDwU03fuQUI63Zh8NxWxqZlw27QRnnudMP3L7zF11VI6UzbBfe9yVNHcbd6yFKvoXNjpEUpniQs+/+xzOHnHwdRAe9q6n9S2GhrD3KefRwat1fSLL0MB3cxpqPh4HFJ//jvkjyaDzupmWyOvue7eXiTRfn7q4osx8tlnMY50iL/F29HRSfPOhrz2cOD0eVyDjq3BlPJsJJXlwFBdhrbKUBircojZ4lpfXUoGnbJR+QkF/wasNM6ApoYa+Lp7Ij6zUrzjoC/LgrOzHyqMjWQM8c86BjQ0NorH/dVV/Rulke94i0sr4BaRh2WuWdjil43x65MxxzkDyVl8t2qVngaef1vmNvPPtezXHhGL9wvEI1u6a6c0vODFna5VXdZsJGMyOK8OY91X4olV1+KRlTfitS2PYVHAdJSUF9OhNXDDsrhXJCcj8R9XIeHPlyKBrHlbxv3vH1G4dgP07W398taz8ZpbgRcdc3HjonT85tsk6MbHQfdZHOb55NNdJwnRIO2toLvSNjbo0KqsMMbRA0BHCW2yOKCTxY9unKjPvLh4Y/NP4co40SajcWpsNiFy50ascHRHlZF/riHDhseQ62CDuZYfSdMYquNrNCk/1xgoHd/B8LsKtu2yJj/2d6YDdOPGjUJ4mPxhZzc3twHix09r+YkVGx/89JXraqRNxoeleKeT1g2vC14/2hMRJrdRy8ePpg20rri/XB4bMfzTP/8Uxf0SP2sMIo7cT36CyE/l/vCHP+Ciiy4S317knzo18PcR7Rl0GrkM8Qkcfi/HhrYHG5OFPSkpGXffcz/+/JdLcO11N+D6G27ENdddT7wBf/rzxeJn19DQMLPwa2wxGbAjLAdXTw7ER1tTsTm6AsuCiuGTZURkcSPe35KGO2eGIjGnVLz7p+TjJ+oNNK714qm02Dvq00oD/wzN8fUNaKC78lpaD/z6hDiAqF/Ku0k8hkYRJtKTy2vAnuhrZGMtPa8QKbl56M55EAcyLkZiRhgSsgvFzy328misp/lyyTPi6aAyPBVSgceCKzEmogTFlSU0z3xgDSKItH6qqI/GhCRUf/416uYuRm9kHDoCQtGUkEKaRvF25qOG5jrvlZHI1f0M1b+5CE2/vxh1f7kMla+OQsLv/gJPnQ5ed903qEF3w0QfvL3GYiBY477vw/Deyki0D2LQ8Vrgp7WrV6/Gtm3bxF7hn1wdHR1FvO364Rs1Xld1NA9iXsUc8U9/dINEa6We1j6H82sTPJ81NFb8cy1rL+9nsces9oZIy9cUxxqp6LqqBTZkg2n/wT7Sm2MInbEIMy67CvP+dRNmXnEd1j/5PJrySIMI9vJW0f5hk+xwZw9cP56AaZdehQVX34wZ//w3dr49BgcaWsS/ha6sHGiU8RgcU39yHQz8fdLjG3SDgz+HZbu/62gcEiqK8HVRFNxaK9HR3YVvv5mMt99+W3y4/v3338d7770nvm9qz6DjNnN7Nm3aJOaS55Xnl+eZ35HlMbekp32lPSGkevldQOuybMl94p9Y+Zur1vrKT/76tUXoIf+02ijWiNg3VL6Yd1EPnZesnbwfWfdp3x1vb4o+lZchLSEaKXGRxCikxDMVf0ZyvOiDZc1q/SKXy6U6m5qNCN6yBqt3+EBP65DXGxs5jfWs+ZxHL9ZuvYnay3NPbVLWrqXN2vvlQoOoLr62uEp+fmrKe4L7xG3hOD7n+B03Yx2/I63VZ0Mqhw26nEdHIO0Xv0fu9bfBOIcMVvXHu4r3P0aK7v8h7+0PhG7Y5ufv6i6aPx9j330X9WTw8bnA4R999JHY1/xzrG2e0+FxDbrhQhbJWoPyMyzT+iA/k+QnlKbaejSQEVpnoMVGC9FeOjNp8vU0YXo2YO2xhe50jLSgaGHazU/kA5YNvOY6vXhvbrC7MmuyKFdWVgkRspD8VI8Wbi+fpH3yeLERypuNxZ03vvXYKoax/bynQ80QtEc25CzCaCH/JMVGbBOtF35aV0f7g8lPvNnlMH4SeTLr6Oywiowo/omUDdNTG0c+HIysBcTjGY92SXNYzT8bEatIxO2m0cgHB82FuOOm+a+ivctuDe1f/kdiBgrnf2hhNy+R/yFSPY259ZrR2EjzxHG8Z+3lPd/Ie4H7xa6eDj4j31TR4chaqPXZXj6mOS9dG2hejE2NwmW/Vqa9fEyt7MF4pvLW1xhgonOB07CxxHuWjTEmX9vbo5LnP2tYf/n8pn3PP8dra6Wa5p11oobX/HHWjS3P1DoZYNDxI2NJSUlJyR8Ho+KS4B0cB+8QyXNF37B4JKcMnJugyAQ5N0NBGsPo+OQB4xtDYWd1fKmuwIiEAe0YKg4w6CQkJCQkfjzYxP8I6/kA6EaFSp4Lvh6MP34aja6+gT8jj1iSBd2Lcm5Omy8EwCnO6l84q3BNaTi74/tSIB6cm67WPvSQBp2EhITEjxibImuVQ+0dOnBs+badsJPl6eT9MXFkMC76LBqd+/mtwf54emkmdC8PMjeSJ8+X2KCrU0fVAtfk+h82vry2NdqLH4yvBOLheWlq7UMPadD9yHHs2DHk6zsQlFkHj0Q9nCIr4RBcDsfQcuyKrkJghhFlpi419UBwfgkJifMXdg26N4Pwx89z4JFswgNjw6F7K0QND4butUDoXg9S/G+p/tfIT4aJ7l0KeyMYd22pwPbwSkqvxok8FG9dh6TCH2LQvU3zwXNABoKkyleJvAZtx4p5OgYdr31au38bF4F31yVifUAm3GJy4Ep0ic7BPPd0PDE/Dr/8IExZ48cz8qid0qCTGFJ07T+EHWS47YmthmeSAVN35WDE7Cg8NDUcicVNIk1zZx9yq9tQUd+FA4eOwNDcI4w8t/ga8WkABhtz0qCTkDi/YdegGxmIv3xZAmNTL16gg0z3eiB+OjoeW3I64Es3fmEVHfhuYwYmRDQhLa8BEXUHYSBt+D8u59UgjPBpQGp+Lf7xdSlaevrgEt+ImoZOPMZlDXbo/lh5qgYdGScfbM5XU1z46O47gob2PuhbDqCm+QDq2vrQ2HlQYcdBNHcfUlMCvQeP4M/jogeusR9i0L0Rgr9/FgGP2BzklRbi8y3JuHgs7wUq+1XiK8TXiGTw3TQ5ChsDM1FVU4zxW1KofjIC+SdW2zKlQScxVOjpO4w1/iVIK2vBLJc8XP2ZP277MgR3fRMq3GvHBwr35klBuHliEO74OgQ3fhGEKz7xw5Vj/YTB556gR0hWHXZEVKqlSkhInM8YzKC7+KsyHKDDdNLcZFwzPhpXzs1BeusBzHPOxpr8DnhElMOhqAvuIWVYmdENQ0IN/sTlvBKE54JbUFZpwhVTKtDV1oXnJ+WgqvMIpn8ToxyI1nX92PkDDLr3fyQG3dNLM6B72hezPCtQ1tCLjKoOxJe24aov45SnvqPIcCIj6dKJsSJ9L61XHsvTMuj4CRsZc7Nc05BbUoh/fxWlGHAUduf30dgUlInw9DyEpeVhW2gWRiygtvBTvLco38vB+GRzMirJsLv9eztrXRp0EkOBQkMHtoVXwNTai4e/DyejLViQDbanZkcjoagJudXt8Eo2UFggbqLw15bEI6eqTeTdGFyG6ycE4lYy+G6ZGAx3ukvfFFIunuRJSEicvxj0Hbq36TB60V8cQuafs14nlw9ATv9GOD70r4N/dA28ctqwchcZH2TMiZ9dOR1fjyK+zAcv5eV89p5a/Ng5JAbdASQGu8LBwRFekRniG38HD+xXP78M9NH1YdVz5FAf+g6R59hh7O87BByqh8uePShuPGBOP1zw2MJ0fLK9ENtijdA94yt496wUxBS14X/eD1MMujeCcOVXcSL9kBh0rwVjinMaIjLy8Auu403+yTUE3zmn4kB7mTDkLvs8Ev/3URi2kkHXYCrB5uAsxahjY5DyPzYvFgVlRbh5CrWFDEFz2dKgkzhdNLQfgAMZZEePHcP4zem4bjwZZpOCEFvYiPnuBUgrb8E3TlniJ1bHsHJ8uC4F904ORV5NO6Ly6pFS2ozHZ0TiFjIA7/ya7lK+ChEGn1NUFbZHVOKQ+hOshITE+YfBDToiH5hM2ziN/A4dv8vFTyKOZ6xp/8qPr7WDzzYNP+E43vtHZ4vcBj7ENT9fH69dZMD+lI1Ye3HEn2jxg5UxRE/oDnSZEO7tjF179mHzkvnY7OKKXS7eSIiLRYDPHixfswb+Pnux1jUchuxoOOwNwKGDvWjSF8BxqzOKS8vhtGEjjJZfMM85Xl6dDd1/ffHJ1kKkVnQgpqRN/EnOjt7DeGtdrnKzQetvyAw6Wpt/HBuB+Ox8vLIiQflJVYtjw4x/ZiXjjvngrFjE5+Sjngy6L7YnK3uA06lrfWdENhZ4pCv5tLmXBp3E6cI3zYiAdCO6D/z/9u4EPKry3uP4qfdWrb1Wa692u7WttrV9cGvrVrVVH5eraJ96S2tdWipVFFAUUUHcoIACQkggQFiNBMIekpCQfZlsM0mGkJB930P2bSaZ7Pnd952ZNMOcE2QJhRN+n+f5PyEz551MAjrfnJlzph9/XJ6ESW/IPW3heOD9GOw0VGBwaAhrQwqxK7HS/nTqy+tSEZ11HOWNVvvTs/LgCBmC8mnYX4p1jyyMw6yNZszwMWNXQoUIvhbnVyIivdEMOvHAdsWMOMzzT8Mi3xQ8Kx7cFn5hwiOfJuKexfG4d2kCbn9TbPdCNJ7wMeEzPyMeXhiP532MmO4pthEPdnN8TXjqnwY8sSoFG8LMmPpJtHjQi8b8IDOmeRgwZZ0JH2xOxv9MEw94f4/GKwfSsdbfiPvmxeFxseadzSmYviYBd39gwNPLDHhyVTLmb0vBra9FiQfsCFw/LwFzxQPpH1Yl4PmtJnwi7udNr4r79Gwkfv5BIubLr78kHi9sMmH2mkTcvMCA93el4cmP4vHgCvH9+BrxwKcJuGtRPO5cbMDkdclYtCNV/EKbAu/wdNwxW9yvv8ZgUYgZz60Q39tGE+b7JOPaqY77O3VbKl5eYcC178ZjsmcS/rHZhLc2JuHhNUlYKr7Oc0vi7EFwzXwDHvdJwVs70vCOdyKukutd426cgq7teDlSU9NRJ36Bx4AVx46k21+32N/VitzsY8gvkSe9rrG/j7PUUlOEtIxcdFotOH68Hl02G+pqatBzAb0s+mnPo6Pfv/xFQIaa+P5vnZ9sfw1dQ0cfvj41Ct+bbbBvPx5Bd/Ur0fagm+IedM7rL38xCoeMx9DWWIx3tqfhK/L1cvK+jWzjDDo/Bh2dC/J1b9tjy1DX2m3//Pfif8ZyD5vc2/bTWaF48MNY+Iuwq2+3ISitBv/7z3gU1HaIf4y59qdZZbj9zdNoj0AZdTIE82s67IG4JaoUMcca7LdLRPoz5h468UB0m/h/xcMLY/A7EVgrdqdiyuokTPNNhdd+E+6ZI7aZGoPHvBLxu08MeHFTMuaJaJkhAuuJ1SlY6p+Kx0UovSBCaOX+NPzhYxF0UyJwv4cRfxWh9rIIok92GHHLLHE7f4/B4yK6frvUgJl+KVgWaMbqXSK4liRiU6gZv54bg+e2pGGhCLpfzJJPg0XieXE/fIPNeEPE5GMrE/CoRyIemC+uE5E5a1c6tgalY7YIxpliu7fWJWHyiiR8vCsVf1mWgGfXG7HM34TfeyRhlrjPi3ca8dymRNwn7u+Ta5MwfasRd8wRt/VMJB5dI67zTLDfzpLtRtwoo/GFKDy6yghP8TN5bHkCpu80YYGIuJUHTHhxq7idJQl4xtOAS54Jw3UfJWDabhMeEj+jx0XsPiaC+DvyyOGRPZZnEHTTNuc6t5jYorJbcNu8ZFwvgu36NxNGZ04CviV+4bjmlVj8+I0EbImvsW8vD4o4q6CTIyJunl8aYjOycZk8ctV1b60Is0vFZQ8vTcRTnyXhupkx4u/R5Xrn+ocWJyKnKB+3zOdTrjTOEnIb7VH31BIDfjIjBL+aGyFCLRSL9+Sg3dqLmRvNuEWEWmm9FS95p2FPUhWiMusxZXkSukS0TRb/A3pzawbq22x4SMTfjTMO4fVNR2C19dufcs2r6nB+JSLSmzGDTo7cszAyMkBGPo7EiNY2rtu5Xi4/um4/su2p3M7I9SOXuX/uOvI69/Wul49s53q96+Wu43q/RraTl2l8jW9Mj8aV00QAjDx17L7edUZuQ87pBt1zEfjOa/F4x78IiwPLJvQsCSrDp4fKsexLZqnYTs6f1mThP6bKqHeLrNMJOvn3IyLsQ/FLgTy69RfvxDmeapXXiZ/9VeLv+fOoo4hIy8bdHxpGg03+vU8Jx+viF5XSigLcvkDEHA+KoPEmX+Mmzy+301Buf8r056+FYvq6NDR19uD+BdG4T/xWW95ghV9cOX40PRjPe6TYT00i99DJ183d/W4kgtNqcKSkRfymHIGbZoUi4uhxlBy32G+XiPTrpEHHOfdzukHHOf05naAbGRFq35kRg11xmfYDHOb6puL79tPuiICTT8Xaj3x1BNsdCwzYEnHUfnTrKz4mR+S5xv/IMOhoPPQNDGJjRDEiRYg9vSzRfiqSRxfG4eNd2ZizNcP+9KuMN3kKE3m6kkmzD2PKiiQs2pODBTuO4cEPYu2XyT18cq9cWnELY45oAmDQneeZSEEn94zJ04nIo6JHTj59KiO3lXu4tK4bjzmToBsZ+ZSqCLjrRNz9xSsZnsFH4C8ib6cYv9hMfLQrHfcuTMBlU8W2co+c+x5Y12HQ0dlyPfmvuaQF3qFFKKztxMbIEkxeYrC/nk7udfvJzBD7KUmWB+TDK6TQHnnyvHQ3zw6zn6Nu7rYMJOQ2iH/QBahs7HLeIk8sTKRnDLrzPBMl6OSpahYcQUyTBR5BJcirt+D/3o7CD9824u4PU3D5P6Lxo/eMuOtjE64VcfTd2QZ8a2osfjDfBO9KC1ZuScGkd424bV4ilH/E4Pr5Ytv3U3CFjMSpUfjZvCRc+aI8DY6Yk0WT1pxN0I3nMOhoPLi/q4N8ulWeHHhTRAmOlrXZ3wmiWVzWanW8Q4SMvqX7c+3nrpPvDrElqgSBqTX2d42QRm7P9TaJSH8YdOd5JkrQyT1zHx5FWqcVLy+OwaVPheLR3ZVISa3Gp8FV8K+3IuBYIzwPlCNY/Hl/YQu2Bx1HcosFvjXtOJxYjEP5FnRYe7BwXylC8prxwF/F9/7nMFz2qgHl9h/PMILji3CHCL4Tjiz9smHQ0cVkcGgYTR29qGzqQkVjlwi8brRa+pzXEtFExaA7zzNRgk6ea89+AmkRdvL1Y//6XNz/J4OhvGvCK+uycJn8s3xqUj4tK0LLvr0IHfmWcfbP5Twj/iyvH7ltuZdOXi5fu3a6e+fkMOiIiGiiWx9dDWXyIXtYcM7DiAf5K1+O1Qw6+U4JylP8uznrefIQthlqnT/VUf4px/+9P9/fh+CehanOrz7+GHREREREOsegIyIiItI5Bh0RERGRzjHoiIiIiHSOQUdERESkcww6IlLp7rbBYrGecL5BDudincHBQbS2tTn/6yC6MDHoiEjFZrPBah15NxCii9vQ0BDa2tudnxFdmBh0RKTCoCMaxaAjPWDQEZEKg45oFIOO9IBBR0QqYwWdxWJBfX092tra0NrayuFMqGkRU9/QYH/dnCsGHekBg46IVMYOOiu6urudnxFNPK2tbfaAc8WgIz1g0BGRykmDrotBRxPU8DCDjnSLQUdEKmcSdN0tJQjYexgN8umrlhZ093ahODcTcdExyKtqRm1OAry9d6ChpRHpibEw51eJVcMoyjLDmJYNm/NZrso8M6INJlj7h2FprkVaciLSj+YgLysdpqxSDA/2o/CoEZExiajvsKG+sgLVlcUIDTGgc9BxG0RnhEFHOsagIyKVMwm6nvZyBO49hJKKClRWN6Cvqx4RESaRbL1IijGiqLQQ5gQjgg9+jn2hsQgNDMLR3CxER6fC5ryNivQQrNu6C7HRYYgSUZdqEuuqO1CYGYOCZhtyDcFIyS5H7jEzDu/xxe7DKcjJzEBWdi5iY0ywMOjobDDoSMcYdESkckZPuQ73oDTvGNLTzUhLP4LqRvlCcwuGhgfQ2tKG/v4+1JSVobVTBJoIspziGgwODaCluQ0DLq9Bb6oqRJo5Cx22fnR1tsPa3Q9rZwusfQOwtDahQ9yH8vxs5BeVokms7ejstN+vlpb2E26H6LQx6EjHGHREpMLX0NFFiUFHOsagIyKVkwWdfFswoomKQUd6xaAjIpWxgm54eAh9fX3o7e3lcCbkDAwMOP+1j2LQkR4w6IhIZaygI7oYMehIDxh0RKTCoCMaxaAjPWDQEZEKg45oFIOO9IBBR0QqDDqiUQw60gMGHRGpjBV08gXj8khXi5XDmYAzxlHcDDrSAwYdEamMFXSOBzyeh44mrtY2nraE9IlBR0QqJws6nliYJiyeWJh0jEFHRCpnEnTDAx0wxkQgLDxcTBTKm05cP9hjQV1ds/Oz86+qtAIdNr75K7lg0JGOMeiISOVMgq63swK7t/khLjEBicZM8QBYi13b/WDKSMfBwGgUFmQi9GAoIqKCEGEwIiQgEFl5edjr54cjpQ2Qp3PtKE+Fz9Z9OJZpRFh0sgjAEhzNyETw7h1IOiI+7vHFgfB45BWWISpoJ3YGRojrc2FKjUfWkQysX7UciccKYEqIQ3RMOEyZ2Yg6dBg5ednw99uD/JIChB4KRXb2Eez4Yj/quk584KaLHIOOdIxBR0QqZxJ0Pe1l2O27G+asLGRmZqGmtgRh4Sb0DnQiLjIJ5ZXFCN0XgJj4KITFJMAgoq62rgLhYUmwOHeUdVZnYN26zxEZFYEUcx7SYwOw40Ao9ny+BdGmLBFtyUiICkNAaATMGalIio/BnoNhqK+vwPp1nkg5cgwbPdbi+OAAspPCcCgsEoHi+tKKYkREpmFg0Ir4w8GIig7Dti27RdDx3fzJBYOOdIxBR0Qq5+s1dH3dnWjt6HV+RvRvxqAjHWPQEZEKD4qgixKDjnSMQUdEKmMFndVqRVNTMzo6OzmciTcdHWgU/76HRdi5YtCRHjDoiEhlrKAjuhgx6EgPGHREpMKgIxrFoCM9YNARkQqDjmgUg470gEFHRCoMOqJRDDrSAwYdEamMFXTy2D95UpEeDmeCjjzBtTza1RWDjvSAQUdEKlpBJ0OuxbgJWPWfwNprOJyJN55fQ++2O+1v0O+KQUd6wKAjIhWtoJN7L5qSfRwPfBt/zOFMvFn/Xdi+uN9+ah5XDDrSAwYdEamMGXRJMuiuBnx+KB4A3UZedirjvs59tNa4j9Y6rdFa6zpaa9xHa53WaK11HdX2PwI2fF9ExPdcLjvZiO3lRxEd2PCD0c/luN7ul96O27ivdR+tNe6jtU5rtNa6jtYa99FapzVaa11Ha836b8Pmey+DjnSJQUdEKmMH3XrA6+siKESEyBjhnOGIn5/X1egM2AZbZSAGvP9bxMR16Pa8FnUbfonG9T+BzeMqtKy5ETUbbsfxtTeiz/ta9K/7OTrKsmFNfAl1K7+P2g23osXrBxjy5t/HuIz3NbB9fheDjnSJQUdEKmMHnTew+jJg3XXqEUFySqO11nW01riP1jqt0VrrOlpr3EdrndZorXUd9+1XXwHLQT/01R3GsOel6PO5GdaOWgwETYIlfDdsQ4PobwhBR8Aj6LYUYvjAN9HncSOsZRnoLI9Fb5MZ7ZHvw9aZgkF/EdleLret9fXHGtf7pDVaa9xHa53WaK11Ha017qO1Tmu01rqO1po134Bt26/R1MygI/1h0BGRyphBl7gW8LjEvieDczbzTfsL8Af938Jg8QFYU5bDFj0Tg4HTMVCwDwM5q9Dr/zCstaXoqClCry0PQ3u+jqHV38Ngmg8G0ldiKGM5+gP+hMHcVRj2vUIEnbhNza/FOeXx+hpsW29j0JEuMeiISGXMoEvwAlYqwJor7XszTpi1pzju69xHa437aK3TGq21rqO1xn201mmN1lrX0Vojx/6zFLNWzsjn4qOXiLTVlzoulx+95HXO6+3bOrf/10eXcf26Xzbua91Ha437aK3TGq21rqO1xn201mmN1lrX0Vqz+quwbZ7EoCNdYtARkcrYQbcaWCGCzutrHM7EGw8Ftk03MehIlxh0RKQyZtAZVgHLRdB5XibmUg5nYs0qBT0+N6Kpqcnxj96JQUd6wKAjIhWtoJPnzu/qaEZzcTIa8g1oKEjgcCbUNIp/1+01eejvt79fxL8w6EgPGHREpKIVdEQXKwYd6QGDjohUGHREoxh0pAcMOiJSGSvohoeHMTAwwOFM2BkcHHT+ax/FoCM9YNARkQr30BGNYtCRHjDoiEiFQUc0ikFHesCgIyIVBp1DW4sVsVnNiBKT3SBP3HL6Bmz9zj/pQ2un4/usr2tHfGEHTjze8+LEoCM9YNARkQqDThpAdFAeInM7UNbciz6bFbuCc7HyYD58U2pRkF+G+ZtyEJtdha2hhfDYcxTLI6tQXFqN1fvysVxsZ65oxKdr0rE7X/wsh/sRlFiKuk4bDMYyJOVUwftAPpYdyIO5sgXBhiI02/oQmVKCI0W1+GSjGfsyW+2niynNKcHbmzKxJjAXEfktKCmowdbwcry3Nw9pZU3YcDATq0KKcbS0GTvCj2FpYCGi0moQmVmDvII6vLQxEzkVLYhOr8ThhCKsPliA1WFlKK+tx8INGQjJqsXO0DysE9/f/F15KGhoQ6FlED11NfAJLL/oo45BR3rAoCMiFQad1I/Ig3mossqkEj+T5gZ8FlQowqgRvqFFiD1agtCsNlSVVWNLci0yM0uxUkRSRGohDmQ2IyahEGHZxxEemIf0ul77bQz3tmP5lnRkHe9BUnohdqY3ItFYjFBzNQ5G5iGpoAmr9mchJq8a26PKMGRfBRRkFmFZQDky86twOKkSOyOOwTeqALO9U7E3rwVHCusREJWPNYeKYC5uQHhyibivRSgtqMb09SYciCnEqx5m1HV3Y0tIDszlbdhxKB+G7Er4GWrQa2kTMSe+t/LjWOB/DBbxNWtrGhCUz4iRGHSkBww6IlJh0J26AUsnvogoh1d0JWq7T7YvaxgZmZWIyut0fn7qamoakVPX7fyM/t0YdKQHDDoiUmHQEY1i0JEeMOiISIVBRzSKQUd6wKAjIhUGHdEoBh3pAYOOiFRk0HV18TVbRCMYdHShY9ARkYp8i6/e3l709PRwOBwx8m3BiC5kDDoiIiIinWPQEREREekcg46IiIhI5xh0RKTS29uHpqZmtLd3cDgX/bS2tdmH6ELGoCMiFZ62hGgUT1tCesCgIyIVBh3RKAYd6QGDjohUTgw6+fFtMa9pzHNiLnGbX4jR2lbOHDHFYuo0hujCxKAjPWDQEZHKiUHXIuYqMcppz/Cwgv5BBYND2tef+Vwt5pqTzAYxROODQUd6wKAjIpUzCbriWgU74xWsCVYQaFIQnaUgIFl8zFRgLlaQXaHAWKjAJ0zBqgAFKfmO2NO6rbOf1WKIxgeDjvSAQUdEKqcadNYeBRtFoAWnKtgv4u3pJQpuf13Bba8p+PUbIuRKFLR3KVi213Hd04sVvLRGwdZIBVVNCvKrFaw8oCCrTH3bZzcMOho/DDrSAwYdEamcGHTygewOMTedMLsMNyA681YcSv2ZiLgbcNecG3Hf2zfgnrlfxR0i5h7/SMFv5ir41WwF977tmDveVPDYBwoefM8RfJNmKHjVW0FSngKPgwqaOrTi7EyGQUfjh0FHesCgIyKVE4NOihfzvn0Gh96HZ9CbqG5+Fv6GK3DLzMtw91uX46lFl+Oh9y7Hgi++gpLjCpbvV5BXpWDyQgW3vqbgz586npb9LEBBTqWCv60UsSeiTkafvH5zuALfaAU1zVqBdrqzXgzR+GDQkR4w6IhIRR10i8U4YinI5HgqtbJRwWMfOva03f+u4/Vx8qnUrHIFexId2wSkKAg7ouCnLys4aFTQalWQJrab8okj5kb23N39loJ7xMjX4G04rKC71z3QTjY3iJFH0CaJaRVDNL4YdKQHDDoiUhkr6Gx9CnbEKSisVVDeoGDyx46gk1Emn1qd5qnY984FiniLylRQVKdgbbCC5DxH2DVZFGRXKojLVvCEWCufgr1TzNI9CvaKCJQHVNiDsVgr3MaaP4ohOncYdKQHDDoiUhkr6Lp6FOxOcIwMtx4ReE8udITZXXMcUff6BhFvZgUtIt7iRbjJ61KLHCEor/90n4J9SQre3upYI6+XcVfZpKCxQ8GBZLF9oVa4jTUMOjq3GHSkBww6IlJRB90aMdeLURBsUhCZoeC37yqYNFPBPXO/jTvf/Cn84i6xB9lzKxTcMktBQY0Cz0AFc7coaBZx98RHCpLzHU+9/niagpgsBRHiduQBFPLgCJ/DjqNmt0QoqGnRCrexhkFH5xaDjvSAQUdEKuqgG1XXCngGN2JzhBW/mr3DfpqSGesUNHY69rTJcJMHQ4SmK7j9NRl8CtKKHIH31CLHQRBvbFRgEfG2yF/BzSIKH3lfQZNYHyLWHDZrRdvJ5hExROcOg470gEFHRConCzqpxdKLTeE1iM5Ktkec3MMmY+2TvQoWbFfw4HzHU6n3OQ96kAdAPLxAwXtfKFgZoGD6WseeOfkU7G/E9RmljgMo5F477WhzHXkKlVfFZIuxiCE6txh0pAcMOiJS+bKgGxGSnoTtMY6DJFYHKnj0A8fTrXLPnDy5sNz79pKX4+TDMvjka+bkHju5V0/+WV4u30lCHtlqsblG2zNijM4hOr8YdKQHDDoiUjnVoHO8qb6C3CpHnPnHK6hudhwsId8hos2qoLjOcUCEfC2dZ5CCPQkK/GId552LPDrW+7y+KYbowsCgIz1g0BGRinbQfSZGK77UI08OLN/OKylXQWyWAkO247x0JSLu5KlPtNacOAw6unAw6EgPGHREpKIddGvFaMXXuRgGHV04GHSkBww6IlI5f0E3ScyfxfiKIbowMOhIDxh0RKSiHXQeYrQi7Ezmv8TcK+ZzMRliiC5cDDrSAwYdEamMfVBEuZgvTnGixBDpH4OO9IBBR0QqYwcd0cWHQUd6wKAjIhUZdF1d3c7PiIhBRxc6Bh0RqQwPD6Onp0eEHYfDkb/g9Pf3O//rILowMeiIiIiIdI5BR0RERKRzJwTd85vz2uUFHA6Hw+FwOBz9jGw4Z84RERERkX4pyv8DBcA/0kmMjOsAAAAASUVORK5CYII=">
            <a:extLst>
              <a:ext uri="{FF2B5EF4-FFF2-40B4-BE49-F238E27FC236}">
                <a16:creationId xmlns:a16="http://schemas.microsoft.com/office/drawing/2014/main" id="{D5C962D1-9CEC-48B0-B6E0-B883FD320892}"/>
              </a:ext>
            </a:extLst>
          </p:cNvPr>
          <p:cNvSpPr>
            <a:spLocks noChangeAspect="1" noChangeArrowheads="1"/>
          </p:cNvSpPr>
          <p:nvPr/>
        </p:nvSpPr>
        <p:spPr bwMode="auto">
          <a:xfrm>
            <a:off x="967409" y="2451653"/>
            <a:ext cx="7805530" cy="39325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00025E9D-AE58-4917-A5D2-8E2730A9BE99}"/>
              </a:ext>
            </a:extLst>
          </p:cNvPr>
          <p:cNvPicPr/>
          <p:nvPr/>
        </p:nvPicPr>
        <p:blipFill>
          <a:blip r:embed="rId3"/>
          <a:stretch>
            <a:fillRect/>
          </a:stretch>
        </p:blipFill>
        <p:spPr>
          <a:xfrm>
            <a:off x="967409" y="2089467"/>
            <a:ext cx="5943600" cy="2374265"/>
          </a:xfrm>
          <a:prstGeom prst="rect">
            <a:avLst/>
          </a:prstGeom>
          <a:ln>
            <a:solidFill>
              <a:schemeClr val="accent1"/>
            </a:solidFill>
          </a:ln>
        </p:spPr>
      </p:pic>
      <p:sp>
        <p:nvSpPr>
          <p:cNvPr id="15" name="TextBox 14">
            <a:extLst>
              <a:ext uri="{FF2B5EF4-FFF2-40B4-BE49-F238E27FC236}">
                <a16:creationId xmlns:a16="http://schemas.microsoft.com/office/drawing/2014/main" id="{DC3E320D-1C13-4DB3-9924-FECC2D5C16DC}"/>
              </a:ext>
            </a:extLst>
          </p:cNvPr>
          <p:cNvSpPr txBox="1"/>
          <p:nvPr/>
        </p:nvSpPr>
        <p:spPr>
          <a:xfrm>
            <a:off x="377687" y="4614172"/>
            <a:ext cx="8309113" cy="1846659"/>
          </a:xfrm>
          <a:prstGeom prst="rect">
            <a:avLst/>
          </a:prstGeom>
          <a:noFill/>
        </p:spPr>
        <p:txBody>
          <a:bodyPr wrap="square" rtlCol="0">
            <a:spAutoFit/>
          </a:bodyPr>
          <a:lstStyle/>
          <a:p>
            <a:pPr lvl="0"/>
            <a:r>
              <a:rPr lang="en-US" sz="1600" dirty="0"/>
              <a:t>3. </a:t>
            </a:r>
            <a:r>
              <a:rPr lang="en-US" sz="1400" dirty="0"/>
              <a:t>Create an App and create APIs under that app.</a:t>
            </a:r>
          </a:p>
          <a:p>
            <a:r>
              <a:rPr lang="en-US" sz="1400" dirty="0"/>
              <a:t>4. For example, for one application, 5 webservices going to be configured in </a:t>
            </a:r>
            <a:r>
              <a:rPr lang="en-US" sz="1400" dirty="0" err="1"/>
              <a:t>Akana</a:t>
            </a:r>
            <a:r>
              <a:rPr lang="en-US" sz="1400" dirty="0"/>
              <a:t>, then create 1 App and create 5 APIs and tag all those 5 APIs into App. So everyone will easily understand those 5 APIs are created for that particular app. Give the app and </a:t>
            </a:r>
            <a:r>
              <a:rPr lang="en-US" sz="1400" dirty="0" err="1"/>
              <a:t>api</a:t>
            </a:r>
            <a:r>
              <a:rPr lang="en-US" sz="1400" dirty="0"/>
              <a:t> names relevant to your project/application. Refer this link for self help: </a:t>
            </a:r>
            <a:r>
              <a:rPr lang="en-US" sz="1400" u="sng" dirty="0">
                <a:hlinkClick r:id="rId4"/>
              </a:rPr>
              <a:t>https://devcloud.swcoe.ge.com/devspace/pages/viewpage.action?spaceKey=QRSJX&amp;title=Akana+Self+Service</a:t>
            </a:r>
            <a:endParaRPr lang="en-US" sz="1400" dirty="0"/>
          </a:p>
          <a:p>
            <a:endParaRPr lang="en-US" sz="1400" dirty="0" err="1">
              <a:solidFill>
                <a:schemeClr val="tx2">
                  <a:lumMod val="50000"/>
                </a:schemeClr>
              </a:solidFill>
            </a:endParaRPr>
          </a:p>
        </p:txBody>
      </p:sp>
    </p:spTree>
    <p:extLst>
      <p:ext uri="{BB962C8B-B14F-4D97-AF65-F5344CB8AC3E}">
        <p14:creationId xmlns:p14="http://schemas.microsoft.com/office/powerpoint/2010/main" val="4073549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Continued..</a:t>
            </a:r>
          </a:p>
        </p:txBody>
      </p:sp>
      <p:sp>
        <p:nvSpPr>
          <p:cNvPr id="10" name="TextBox 9">
            <a:extLst>
              <a:ext uri="{FF2B5EF4-FFF2-40B4-BE49-F238E27FC236}">
                <a16:creationId xmlns:a16="http://schemas.microsoft.com/office/drawing/2014/main" id="{EFC37263-C571-4B66-902D-F42338133C59}"/>
              </a:ext>
            </a:extLst>
          </p:cNvPr>
          <p:cNvSpPr txBox="1"/>
          <p:nvPr/>
        </p:nvSpPr>
        <p:spPr>
          <a:xfrm>
            <a:off x="185530" y="1470991"/>
            <a:ext cx="8772940" cy="307777"/>
          </a:xfrm>
          <a:prstGeom prst="rect">
            <a:avLst/>
          </a:prstGeom>
          <a:noFill/>
        </p:spPr>
        <p:txBody>
          <a:bodyPr wrap="square" rtlCol="0">
            <a:spAutoFit/>
          </a:bodyPr>
          <a:lstStyle/>
          <a:p>
            <a:r>
              <a:rPr lang="en-US" sz="1400" dirty="0"/>
              <a:t>4. When creating API, enter the </a:t>
            </a:r>
            <a:r>
              <a:rPr lang="en-US" sz="1400" b="1" dirty="0"/>
              <a:t>Step 2 Target </a:t>
            </a:r>
            <a:r>
              <a:rPr lang="en-US" sz="1400" dirty="0"/>
              <a:t>like below:</a:t>
            </a:r>
            <a:endParaRPr lang="en-US" dirty="0"/>
          </a:p>
        </p:txBody>
      </p:sp>
      <p:pic>
        <p:nvPicPr>
          <p:cNvPr id="11" name="Picture 10">
            <a:extLst>
              <a:ext uri="{FF2B5EF4-FFF2-40B4-BE49-F238E27FC236}">
                <a16:creationId xmlns:a16="http://schemas.microsoft.com/office/drawing/2014/main" id="{78382A56-5011-47CE-BF64-97883BF15715}"/>
              </a:ext>
            </a:extLst>
          </p:cNvPr>
          <p:cNvPicPr/>
          <p:nvPr/>
        </p:nvPicPr>
        <p:blipFill>
          <a:blip r:embed="rId2"/>
          <a:stretch>
            <a:fillRect/>
          </a:stretch>
        </p:blipFill>
        <p:spPr>
          <a:xfrm>
            <a:off x="460513" y="1778768"/>
            <a:ext cx="8325678" cy="3972676"/>
          </a:xfrm>
          <a:prstGeom prst="rect">
            <a:avLst/>
          </a:prstGeom>
          <a:ln>
            <a:solidFill>
              <a:schemeClr val="accent1"/>
            </a:solidFill>
          </a:ln>
        </p:spPr>
      </p:pic>
      <p:sp>
        <p:nvSpPr>
          <p:cNvPr id="12" name="Rectangle 11">
            <a:extLst>
              <a:ext uri="{FF2B5EF4-FFF2-40B4-BE49-F238E27FC236}">
                <a16:creationId xmlns:a16="http://schemas.microsoft.com/office/drawing/2014/main" id="{F1388D9C-D6CA-42D4-B7E8-C7CD9798C5A5}"/>
              </a:ext>
            </a:extLst>
          </p:cNvPr>
          <p:cNvSpPr/>
          <p:nvPr/>
        </p:nvSpPr>
        <p:spPr>
          <a:xfrm>
            <a:off x="185530" y="5848394"/>
            <a:ext cx="6672470" cy="306109"/>
          </a:xfrm>
          <a:prstGeom prst="rect">
            <a:avLst/>
          </a:prstGeom>
        </p:spPr>
        <p:txBody>
          <a:bodyPr wrap="square">
            <a:spAutoFit/>
          </a:bodyPr>
          <a:lstStyle/>
          <a:p>
            <a:pPr marL="457200" marR="0">
              <a:lnSpc>
                <a:spcPct val="107000"/>
              </a:lnSpc>
              <a:spcBef>
                <a:spcPts val="0"/>
              </a:spcBef>
              <a:spcAft>
                <a:spcPts val="800"/>
              </a:spcAft>
            </a:pPr>
            <a:r>
              <a:rPr lang="en-US" sz="1400" b="1" dirty="0">
                <a:ea typeface="Calibri" panose="020F0502020204030204" pitchFamily="34" charset="0"/>
                <a:cs typeface="Times New Roman" panose="02020603050405020304" pitchFamily="18" charset="0"/>
              </a:rPr>
              <a:t>Target URL</a:t>
            </a:r>
            <a:r>
              <a:rPr lang="en-US" sz="1400" dirty="0">
                <a:ea typeface="Calibri" panose="020F0502020204030204" pitchFamily="34" charset="0"/>
                <a:cs typeface="Times New Roman" panose="02020603050405020304" pitchFamily="18" charset="0"/>
              </a:rPr>
              <a:t> : enter the original SOAP Service End Point URL</a:t>
            </a:r>
            <a:endParaRPr lang="en-US" sz="1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63167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18" y="119271"/>
            <a:ext cx="7434469" cy="742121"/>
          </a:xfrm>
        </p:spPr>
        <p:txBody>
          <a:bodyPr/>
          <a:lstStyle/>
          <a:p>
            <a:r>
              <a:rPr lang="en-US" dirty="0"/>
              <a:t>Steps Continued..</a:t>
            </a:r>
          </a:p>
        </p:txBody>
      </p:sp>
      <p:sp>
        <p:nvSpPr>
          <p:cNvPr id="5" name="TextBox 4">
            <a:extLst>
              <a:ext uri="{FF2B5EF4-FFF2-40B4-BE49-F238E27FC236}">
                <a16:creationId xmlns:a16="http://schemas.microsoft.com/office/drawing/2014/main" id="{E6C68618-C759-4E9E-85C6-416CEDE0DCDD}"/>
              </a:ext>
            </a:extLst>
          </p:cNvPr>
          <p:cNvSpPr txBox="1"/>
          <p:nvPr/>
        </p:nvSpPr>
        <p:spPr>
          <a:xfrm>
            <a:off x="172278" y="1457739"/>
            <a:ext cx="8772939" cy="2677656"/>
          </a:xfrm>
          <a:prstGeom prst="rect">
            <a:avLst/>
          </a:prstGeom>
          <a:noFill/>
        </p:spPr>
        <p:txBody>
          <a:bodyPr wrap="square" rtlCol="0">
            <a:spAutoFit/>
          </a:bodyPr>
          <a:lstStyle/>
          <a:p>
            <a:r>
              <a:rPr lang="en-US" sz="1400" dirty="0"/>
              <a:t>For example) </a:t>
            </a:r>
            <a:r>
              <a:rPr lang="en-US" sz="1400" u="sng" dirty="0">
                <a:hlinkClick r:id="rId2"/>
              </a:rPr>
              <a:t>http://wmesbqa.cloud.ge.com:10603/ws/GE_SFDC_PW_AccountSiteUnit_Services.WebServices.Provider:processAccountSiteUnit_WSD</a:t>
            </a:r>
            <a:endParaRPr lang="en-US" sz="1400" dirty="0"/>
          </a:p>
          <a:p>
            <a:r>
              <a:rPr lang="en-US" sz="1400" dirty="0"/>
              <a:t> </a:t>
            </a:r>
          </a:p>
          <a:p>
            <a:r>
              <a:rPr lang="en-US" sz="1400" b="1" dirty="0"/>
              <a:t>Environment</a:t>
            </a:r>
            <a:r>
              <a:rPr lang="en-US" sz="1400" dirty="0"/>
              <a:t>: select “Sandbox” in case of Dev or select “Production” in case of production</a:t>
            </a:r>
          </a:p>
          <a:p>
            <a:r>
              <a:rPr lang="en-US" sz="1400" dirty="0"/>
              <a:t> </a:t>
            </a:r>
          </a:p>
          <a:p>
            <a:r>
              <a:rPr lang="en-US" sz="1400" dirty="0"/>
              <a:t>And in the </a:t>
            </a:r>
            <a:r>
              <a:rPr lang="en-US" sz="1400" b="1" dirty="0"/>
              <a:t>Advanced option</a:t>
            </a:r>
            <a:r>
              <a:rPr lang="en-US" sz="1400" dirty="0"/>
              <a:t>, select “</a:t>
            </a:r>
            <a:r>
              <a:rPr lang="en-US" sz="1400" b="1" dirty="0"/>
              <a:t>SOAP</a:t>
            </a:r>
            <a:r>
              <a:rPr lang="en-US" sz="1400" dirty="0"/>
              <a:t>” check box and “</a:t>
            </a:r>
            <a:r>
              <a:rPr lang="en-US" sz="1400" b="1" dirty="0"/>
              <a:t>WSDL URL</a:t>
            </a:r>
            <a:r>
              <a:rPr lang="en-US" sz="1400" dirty="0"/>
              <a:t>” check box</a:t>
            </a:r>
          </a:p>
          <a:p>
            <a:r>
              <a:rPr lang="en-US" sz="1400" dirty="0"/>
              <a:t>And enter the WSDL URL in the text box like </a:t>
            </a:r>
            <a:r>
              <a:rPr lang="en-US" sz="1400" u="sng" dirty="0">
                <a:hlinkClick r:id="rId3"/>
              </a:rPr>
              <a:t>http://wmesbqa.cloud.ge.com:10603/ws/GE_SFDC_PW_AccountSiteUnit_Services.WebServices.Provider:processAccountSiteUnit_WSD?WSDL</a:t>
            </a:r>
            <a:endParaRPr lang="en-US" sz="1400" dirty="0"/>
          </a:p>
          <a:p>
            <a:r>
              <a:rPr lang="en-US" sz="1400" dirty="0"/>
              <a:t>Now click the “</a:t>
            </a:r>
            <a:r>
              <a:rPr lang="en-US" sz="1400" b="1" dirty="0"/>
              <a:t>Get</a:t>
            </a:r>
            <a:r>
              <a:rPr lang="en-US" sz="1400" dirty="0"/>
              <a:t>” button, it will auto populate the Proc Name in the </a:t>
            </a:r>
            <a:r>
              <a:rPr lang="en-US" sz="1400" b="1" dirty="0"/>
              <a:t>Operations</a:t>
            </a:r>
            <a:r>
              <a:rPr lang="en-US" sz="1400" dirty="0"/>
              <a:t> text box if the WSDL is valid.</a:t>
            </a:r>
          </a:p>
        </p:txBody>
      </p:sp>
    </p:spTree>
    <p:extLst>
      <p:ext uri="{BB962C8B-B14F-4D97-AF65-F5344CB8AC3E}">
        <p14:creationId xmlns:p14="http://schemas.microsoft.com/office/powerpoint/2010/main" val="1096425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061" y="304800"/>
            <a:ext cx="7991061" cy="583096"/>
          </a:xfrm>
        </p:spPr>
        <p:txBody>
          <a:bodyPr/>
          <a:lstStyle/>
          <a:p>
            <a:r>
              <a:rPr lang="en-US" dirty="0"/>
              <a:t>Steps Continued…</a:t>
            </a:r>
          </a:p>
        </p:txBody>
      </p:sp>
      <p:sp>
        <p:nvSpPr>
          <p:cNvPr id="4" name="TextBox 3"/>
          <p:cNvSpPr txBox="1"/>
          <p:nvPr/>
        </p:nvSpPr>
        <p:spPr>
          <a:xfrm>
            <a:off x="371061" y="1524000"/>
            <a:ext cx="8282608" cy="307777"/>
          </a:xfrm>
          <a:prstGeom prst="rect">
            <a:avLst/>
          </a:prstGeom>
          <a:noFill/>
        </p:spPr>
        <p:txBody>
          <a:bodyPr wrap="square" rtlCol="0">
            <a:spAutoFit/>
          </a:bodyPr>
          <a:lstStyle/>
          <a:p>
            <a:r>
              <a:rPr lang="en-US" sz="1400" dirty="0"/>
              <a:t>5. Enter details for </a:t>
            </a:r>
            <a:r>
              <a:rPr lang="en-US" sz="1400" b="1" dirty="0"/>
              <a:t>Step 3 Proxy </a:t>
            </a:r>
            <a:r>
              <a:rPr lang="en-US" sz="1400" dirty="0"/>
              <a:t>like below</a:t>
            </a:r>
          </a:p>
        </p:txBody>
      </p:sp>
      <p:pic>
        <p:nvPicPr>
          <p:cNvPr id="5" name="Picture 4">
            <a:extLst>
              <a:ext uri="{FF2B5EF4-FFF2-40B4-BE49-F238E27FC236}">
                <a16:creationId xmlns:a16="http://schemas.microsoft.com/office/drawing/2014/main" id="{6E6D6AB3-188A-4F80-805E-2C6A34DC97C9}"/>
              </a:ext>
            </a:extLst>
          </p:cNvPr>
          <p:cNvPicPr/>
          <p:nvPr/>
        </p:nvPicPr>
        <p:blipFill>
          <a:blip r:embed="rId2"/>
          <a:stretch>
            <a:fillRect/>
          </a:stretch>
        </p:blipFill>
        <p:spPr>
          <a:xfrm>
            <a:off x="371061" y="1831776"/>
            <a:ext cx="8534400" cy="4409997"/>
          </a:xfrm>
          <a:prstGeom prst="rect">
            <a:avLst/>
          </a:prstGeom>
          <a:ln>
            <a:solidFill>
              <a:schemeClr val="accent1"/>
            </a:solidFill>
          </a:ln>
        </p:spPr>
      </p:pic>
    </p:spTree>
    <p:extLst>
      <p:ext uri="{BB962C8B-B14F-4D97-AF65-F5344CB8AC3E}">
        <p14:creationId xmlns:p14="http://schemas.microsoft.com/office/powerpoint/2010/main" val="1386352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568" y="238541"/>
            <a:ext cx="6427302" cy="530086"/>
          </a:xfrm>
        </p:spPr>
        <p:txBody>
          <a:bodyPr/>
          <a:lstStyle/>
          <a:p>
            <a:r>
              <a:rPr lang="en-US" dirty="0"/>
              <a:t>Steps Continued..</a:t>
            </a:r>
          </a:p>
        </p:txBody>
      </p:sp>
      <p:sp>
        <p:nvSpPr>
          <p:cNvPr id="3" name="TextBox 2"/>
          <p:cNvSpPr txBox="1"/>
          <p:nvPr/>
        </p:nvSpPr>
        <p:spPr>
          <a:xfrm>
            <a:off x="132522" y="1583930"/>
            <a:ext cx="8865703" cy="3539430"/>
          </a:xfrm>
          <a:prstGeom prst="rect">
            <a:avLst/>
          </a:prstGeom>
          <a:noFill/>
        </p:spPr>
        <p:txBody>
          <a:bodyPr wrap="square" rtlCol="0">
            <a:spAutoFit/>
          </a:bodyPr>
          <a:lstStyle/>
          <a:p>
            <a:r>
              <a:rPr lang="en-US" sz="1400" b="1" dirty="0"/>
              <a:t>Proxy API</a:t>
            </a:r>
            <a:r>
              <a:rPr lang="en-US" sz="1400" dirty="0"/>
              <a:t> – Select “Yes” to give the listener details</a:t>
            </a:r>
          </a:p>
          <a:p>
            <a:endParaRPr lang="en-US" sz="1400" dirty="0"/>
          </a:p>
          <a:p>
            <a:r>
              <a:rPr lang="en-US" sz="1400" b="1" dirty="0"/>
              <a:t>Allow Anonymous Access</a:t>
            </a:r>
            <a:r>
              <a:rPr lang="en-US" sz="1400" dirty="0"/>
              <a:t> – Select “Yes”</a:t>
            </a:r>
          </a:p>
          <a:p>
            <a:endParaRPr lang="en-US" sz="1400" dirty="0"/>
          </a:p>
          <a:p>
            <a:r>
              <a:rPr lang="en-US" sz="1400" b="1" dirty="0"/>
              <a:t>URL</a:t>
            </a:r>
            <a:r>
              <a:rPr lang="en-US" sz="1400" dirty="0"/>
              <a:t> : value will be automatically filled. After the “/”, enter the path name. path name can be anything. Its better to enter values relevant to business unit and application</a:t>
            </a:r>
          </a:p>
          <a:p>
            <a:endParaRPr lang="en-US" sz="1400" dirty="0"/>
          </a:p>
          <a:p>
            <a:r>
              <a:rPr lang="en-US" sz="1400" b="1" dirty="0"/>
              <a:t>CNAME</a:t>
            </a:r>
            <a:r>
              <a:rPr lang="en-US" sz="1400" dirty="0"/>
              <a:t>: enter own value. But follow the naming convention like </a:t>
            </a:r>
            <a:r>
              <a:rPr lang="en-US" sz="1400" b="1" dirty="0"/>
              <a:t>dev.ge.com</a:t>
            </a:r>
            <a:r>
              <a:rPr lang="en-US" sz="1400" dirty="0"/>
              <a:t> or </a:t>
            </a:r>
            <a:r>
              <a:rPr lang="en-US" sz="1400" b="1" dirty="0"/>
              <a:t>dev.api.ge.com</a:t>
            </a:r>
          </a:p>
          <a:p>
            <a:endParaRPr lang="en-US" sz="1400" dirty="0"/>
          </a:p>
          <a:p>
            <a:r>
              <a:rPr lang="en-US" sz="1400" b="1" dirty="0"/>
              <a:t>Published URL : </a:t>
            </a:r>
            <a:r>
              <a:rPr lang="en-US" sz="1400" dirty="0"/>
              <a:t>this value will be automatically changed based on the</a:t>
            </a:r>
            <a:r>
              <a:rPr lang="en-US" sz="1400" b="1" dirty="0"/>
              <a:t> CNAME  + pathname</a:t>
            </a:r>
          </a:p>
          <a:p>
            <a:endParaRPr lang="en-US" sz="1400" dirty="0"/>
          </a:p>
          <a:p>
            <a:r>
              <a:rPr lang="en-US" sz="1400" b="1" dirty="0"/>
              <a:t>Advanced Options</a:t>
            </a:r>
            <a:r>
              <a:rPr lang="en-US" sz="1400" dirty="0"/>
              <a:t> – select “</a:t>
            </a:r>
            <a:r>
              <a:rPr lang="en-US" sz="1400" b="1" dirty="0"/>
              <a:t>SOAP</a:t>
            </a:r>
            <a:r>
              <a:rPr lang="en-US" sz="1400" dirty="0"/>
              <a:t>” checkbox. Then </a:t>
            </a:r>
            <a:r>
              <a:rPr lang="en-US" sz="1400" b="1" dirty="0"/>
              <a:t>Operations</a:t>
            </a:r>
            <a:r>
              <a:rPr lang="en-US" sz="1400" dirty="0"/>
              <a:t> will be filled automatically.</a:t>
            </a:r>
          </a:p>
          <a:p>
            <a:endParaRPr lang="en-US" sz="1400" dirty="0"/>
          </a:p>
          <a:p>
            <a:r>
              <a:rPr lang="en-US" sz="1400" b="1" dirty="0"/>
              <a:t>Operational Policies </a:t>
            </a:r>
            <a:r>
              <a:rPr lang="en-US" sz="1400" dirty="0"/>
              <a:t>: select “</a:t>
            </a:r>
            <a:r>
              <a:rPr lang="en-US" sz="1400" b="1" dirty="0"/>
              <a:t>Basic Authentication</a:t>
            </a:r>
            <a:r>
              <a:rPr lang="en-US" sz="1400" dirty="0"/>
              <a:t>” if the WS needs authentication (username &amp; password)</a:t>
            </a:r>
          </a:p>
          <a:p>
            <a:endParaRPr lang="en-US" sz="1400" dirty="0"/>
          </a:p>
          <a:p>
            <a:r>
              <a:rPr lang="en-US" sz="1400" b="1" dirty="0"/>
              <a:t>Quality of Service Policies </a:t>
            </a:r>
            <a:r>
              <a:rPr lang="en-US" sz="1400" dirty="0"/>
              <a:t>: no need</a:t>
            </a:r>
          </a:p>
        </p:txBody>
      </p:sp>
    </p:spTree>
    <p:extLst>
      <p:ext uri="{BB962C8B-B14F-4D97-AF65-F5344CB8AC3E}">
        <p14:creationId xmlns:p14="http://schemas.microsoft.com/office/powerpoint/2010/main" val="2174603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continued</a:t>
            </a:r>
          </a:p>
        </p:txBody>
      </p:sp>
      <p:sp>
        <p:nvSpPr>
          <p:cNvPr id="4" name="TextBox 3">
            <a:extLst>
              <a:ext uri="{FF2B5EF4-FFF2-40B4-BE49-F238E27FC236}">
                <a16:creationId xmlns:a16="http://schemas.microsoft.com/office/drawing/2014/main" id="{486C8B0E-0BD6-4DFF-AB1B-E037FC003B9A}"/>
              </a:ext>
            </a:extLst>
          </p:cNvPr>
          <p:cNvSpPr txBox="1"/>
          <p:nvPr/>
        </p:nvSpPr>
        <p:spPr>
          <a:xfrm>
            <a:off x="145774" y="1470991"/>
            <a:ext cx="8799443" cy="2031325"/>
          </a:xfrm>
          <a:prstGeom prst="rect">
            <a:avLst/>
          </a:prstGeom>
          <a:noFill/>
        </p:spPr>
        <p:txBody>
          <a:bodyPr wrap="square" rtlCol="0">
            <a:spAutoFit/>
          </a:bodyPr>
          <a:lstStyle/>
          <a:p>
            <a:endParaRPr lang="en-US" sz="1400" dirty="0">
              <a:solidFill>
                <a:schemeClr val="tx2">
                  <a:lumMod val="50000"/>
                </a:schemeClr>
              </a:solidFill>
            </a:endParaRPr>
          </a:p>
          <a:p>
            <a:pPr lvl="0"/>
            <a:r>
              <a:rPr lang="en-US" sz="1400" dirty="0">
                <a:solidFill>
                  <a:schemeClr val="tx2">
                    <a:lumMod val="50000"/>
                  </a:schemeClr>
                </a:solidFill>
              </a:rPr>
              <a:t>6. </a:t>
            </a:r>
            <a:r>
              <a:rPr lang="en-US" sz="1400" dirty="0"/>
              <a:t>Click Save and save the configuration</a:t>
            </a:r>
          </a:p>
          <a:p>
            <a:r>
              <a:rPr lang="en-US" sz="1400" dirty="0"/>
              <a:t>Here the </a:t>
            </a:r>
            <a:r>
              <a:rPr lang="en-US" sz="1400" dirty="0" err="1"/>
              <a:t>Akana</a:t>
            </a:r>
            <a:r>
              <a:rPr lang="en-US" sz="1400" dirty="0"/>
              <a:t> Service </a:t>
            </a:r>
            <a:r>
              <a:rPr lang="en-US" sz="1400" dirty="0" err="1"/>
              <a:t>EndPoint</a:t>
            </a:r>
            <a:r>
              <a:rPr lang="en-US" sz="1400" dirty="0"/>
              <a:t> URL is </a:t>
            </a:r>
            <a:r>
              <a:rPr lang="en-US" sz="1400" u="sng" dirty="0">
                <a:hlinkClick r:id="rId2"/>
              </a:rPr>
              <a:t>https://dev.api.ge.com/power/ngcp/getsfdcassetdata</a:t>
            </a:r>
            <a:r>
              <a:rPr lang="en-US" sz="1400" dirty="0"/>
              <a:t>. </a:t>
            </a:r>
          </a:p>
          <a:p>
            <a:endParaRPr lang="en-US" sz="1400" dirty="0"/>
          </a:p>
          <a:p>
            <a:pPr lvl="0"/>
            <a:r>
              <a:rPr lang="en-US" sz="1400" dirty="0">
                <a:solidFill>
                  <a:schemeClr val="tx2">
                    <a:lumMod val="50000"/>
                  </a:schemeClr>
                </a:solidFill>
              </a:rPr>
              <a:t>7. </a:t>
            </a:r>
            <a:r>
              <a:rPr lang="en-US" sz="1400" dirty="0"/>
              <a:t>Access this URL from SOAP UI from outside GE N/W and inside GE N/W. In both cases, you should get the response. In SOAP UI, we testing this URL, give the parameter value for the SOAP request and authentication.</a:t>
            </a:r>
          </a:p>
          <a:p>
            <a:r>
              <a:rPr lang="en-US" sz="1400" dirty="0"/>
              <a:t>For example:</a:t>
            </a:r>
          </a:p>
          <a:p>
            <a:endParaRPr lang="en-US" sz="1400" dirty="0" err="1">
              <a:solidFill>
                <a:schemeClr val="tx2">
                  <a:lumMod val="50000"/>
                </a:schemeClr>
              </a:solidFill>
            </a:endParaRPr>
          </a:p>
        </p:txBody>
      </p:sp>
      <p:pic>
        <p:nvPicPr>
          <p:cNvPr id="5" name="Picture 4">
            <a:extLst>
              <a:ext uri="{FF2B5EF4-FFF2-40B4-BE49-F238E27FC236}">
                <a16:creationId xmlns:a16="http://schemas.microsoft.com/office/drawing/2014/main" id="{301EA336-4FDA-4AD7-BE57-E9D235EBBBF8}"/>
              </a:ext>
            </a:extLst>
          </p:cNvPr>
          <p:cNvPicPr/>
          <p:nvPr/>
        </p:nvPicPr>
        <p:blipFill>
          <a:blip r:embed="rId3"/>
          <a:stretch>
            <a:fillRect/>
          </a:stretch>
        </p:blipFill>
        <p:spPr>
          <a:xfrm>
            <a:off x="1272209" y="3074504"/>
            <a:ext cx="6877878" cy="3167269"/>
          </a:xfrm>
          <a:prstGeom prst="rect">
            <a:avLst/>
          </a:prstGeom>
        </p:spPr>
      </p:pic>
    </p:spTree>
    <p:extLst>
      <p:ext uri="{BB962C8B-B14F-4D97-AF65-F5344CB8AC3E}">
        <p14:creationId xmlns:p14="http://schemas.microsoft.com/office/powerpoint/2010/main" val="4194274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73" y="225289"/>
            <a:ext cx="8326714" cy="675860"/>
          </a:xfrm>
        </p:spPr>
        <p:txBody>
          <a:bodyPr/>
          <a:lstStyle/>
          <a:p>
            <a:r>
              <a:rPr lang="en-US" dirty="0"/>
              <a:t>Steps Continued…</a:t>
            </a:r>
          </a:p>
        </p:txBody>
      </p:sp>
      <p:sp>
        <p:nvSpPr>
          <p:cNvPr id="4" name="TextBox 3">
            <a:extLst>
              <a:ext uri="{FF2B5EF4-FFF2-40B4-BE49-F238E27FC236}">
                <a16:creationId xmlns:a16="http://schemas.microsoft.com/office/drawing/2014/main" id="{69EF8AEE-3853-4C57-B1B7-B22432778FA8}"/>
              </a:ext>
            </a:extLst>
          </p:cNvPr>
          <p:cNvSpPr txBox="1"/>
          <p:nvPr/>
        </p:nvSpPr>
        <p:spPr>
          <a:xfrm>
            <a:off x="145773" y="1457739"/>
            <a:ext cx="8852453" cy="954107"/>
          </a:xfrm>
          <a:prstGeom prst="rect">
            <a:avLst/>
          </a:prstGeom>
          <a:noFill/>
        </p:spPr>
        <p:txBody>
          <a:bodyPr wrap="square" rtlCol="0">
            <a:spAutoFit/>
          </a:bodyPr>
          <a:lstStyle/>
          <a:p>
            <a:pPr lvl="0"/>
            <a:r>
              <a:rPr lang="en-US" sz="1400" dirty="0"/>
              <a:t>8. Check the </a:t>
            </a:r>
            <a:r>
              <a:rPr lang="en-US" sz="1400" dirty="0" err="1"/>
              <a:t>Akana</a:t>
            </a:r>
            <a:r>
              <a:rPr lang="en-US" sz="1400" dirty="0"/>
              <a:t> WSDL URL in browser to check the </a:t>
            </a:r>
            <a:r>
              <a:rPr lang="en-US" sz="1400" dirty="0" err="1"/>
              <a:t>wsdl</a:t>
            </a:r>
            <a:r>
              <a:rPr lang="en-US" sz="1400" dirty="0"/>
              <a:t> content and note down the below attribute or tag values like </a:t>
            </a:r>
            <a:r>
              <a:rPr lang="en-US" sz="1400" b="1" dirty="0"/>
              <a:t>“</a:t>
            </a:r>
            <a:r>
              <a:rPr lang="en-US" sz="1400" b="1" dirty="0" err="1"/>
              <a:t>wsdl:service</a:t>
            </a:r>
            <a:r>
              <a:rPr lang="en-US" sz="1400" b="1" dirty="0"/>
              <a:t>”, “</a:t>
            </a:r>
            <a:r>
              <a:rPr lang="en-US" sz="1400" b="1" dirty="0" err="1"/>
              <a:t>wsdl:port</a:t>
            </a:r>
            <a:r>
              <a:rPr lang="en-US" sz="1400" b="1" dirty="0"/>
              <a:t>” , “</a:t>
            </a:r>
            <a:r>
              <a:rPr lang="en-US" sz="1400" b="1" dirty="0" err="1"/>
              <a:t>targetNamespace</a:t>
            </a:r>
            <a:r>
              <a:rPr lang="en-US" sz="1400" b="1" dirty="0"/>
              <a:t>” </a:t>
            </a:r>
          </a:p>
          <a:p>
            <a:r>
              <a:rPr lang="en-US" sz="1400" dirty="0"/>
              <a:t>These values only should be used in the Java code(not the original SOAP </a:t>
            </a:r>
            <a:r>
              <a:rPr lang="en-US" sz="1400" dirty="0" err="1"/>
              <a:t>targetNamespace</a:t>
            </a:r>
            <a:r>
              <a:rPr lang="en-US" sz="1400" dirty="0"/>
              <a:t>, service, port.</a:t>
            </a:r>
          </a:p>
          <a:p>
            <a:pPr lvl="0"/>
            <a:r>
              <a:rPr lang="en-US" sz="1400" dirty="0"/>
              <a:t>All these value should be used in the java client code to access this WS from the code like below:</a:t>
            </a:r>
          </a:p>
        </p:txBody>
      </p:sp>
      <p:pic>
        <p:nvPicPr>
          <p:cNvPr id="5" name="Picture 4">
            <a:extLst>
              <a:ext uri="{FF2B5EF4-FFF2-40B4-BE49-F238E27FC236}">
                <a16:creationId xmlns:a16="http://schemas.microsoft.com/office/drawing/2014/main" id="{0823BE60-9741-4C8A-B893-62B01B3E5DD8}"/>
              </a:ext>
            </a:extLst>
          </p:cNvPr>
          <p:cNvPicPr/>
          <p:nvPr/>
        </p:nvPicPr>
        <p:blipFill>
          <a:blip r:embed="rId2"/>
          <a:stretch>
            <a:fillRect/>
          </a:stretch>
        </p:blipFill>
        <p:spPr>
          <a:xfrm>
            <a:off x="145772" y="2411846"/>
            <a:ext cx="8852453" cy="3909441"/>
          </a:xfrm>
          <a:prstGeom prst="rect">
            <a:avLst/>
          </a:prstGeom>
          <a:ln>
            <a:solidFill>
              <a:schemeClr val="accent1"/>
            </a:solidFill>
          </a:ln>
        </p:spPr>
      </p:pic>
    </p:spTree>
    <p:extLst>
      <p:ext uri="{BB962C8B-B14F-4D97-AF65-F5344CB8AC3E}">
        <p14:creationId xmlns:p14="http://schemas.microsoft.com/office/powerpoint/2010/main" val="2325028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G Powerpoint template 4x3" id="{6AE3F05C-93E2-41BD-B75F-75737028C294}" vid="{4B14115F-B458-46F7-9EEF-B2194F7B8704}"/>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owerpoint template 4x3" id="{6AE3F05C-93E2-41BD-B75F-75737028C294}" vid="{67B1495A-B74C-4BB2-87C1-3AC9CA4E3851}"/>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owerpoint template 4x3" id="{6AE3F05C-93E2-41BD-B75F-75737028C294}" vid="{38C63AC2-FD90-45BA-AD95-C19799425DF1}"/>
    </a:ext>
  </a:extLst>
</a:theme>
</file>

<file path=ppt/theme/theme4.xml><?xml version="1.0" encoding="utf-8"?>
<a:theme xmlns:a="http://schemas.openxmlformats.org/drawingml/2006/main" name="1_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G Powerpoint template 4x3" id="{6AE3F05C-93E2-41BD-B75F-75737028C294}" vid="{4B14115F-B458-46F7-9EEF-B2194F7B870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3AE31A12-D36A-4237-B532-06887790980D}">
  <ds:schemaRefs>
    <ds:schemaRef ds:uri="office.server.policy"/>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7A8FE5C5-5E17-4A4E-BC06-FF92EEF2479D}">
  <ds:schemaRefs>
    <ds:schemaRef ds:uri="http://www.w3.org/XML/1998/namespace"/>
    <ds:schemaRef ds:uri="http://schemas.microsoft.com/office/infopath/2007/PartnerControls"/>
    <ds:schemaRef ds:uri="http://purl.org/dc/terms/"/>
    <ds:schemaRef ds:uri="http://purl.org/dc/dcmitype/"/>
    <ds:schemaRef ds:uri="http://purl.org/dc/elements/1.1/"/>
    <ds:schemaRef ds:uri="1a15b7a5-8bf3-48ec-9406-33eddee50b6e"/>
    <ds:schemaRef ds:uri="http://schemas.microsoft.com/office/2006/documentManagement/types"/>
    <ds:schemaRef ds:uri="5879bab2-9d8b-41cd-9756-d839d4d848ca"/>
    <ds:schemaRef ds:uri="http://schemas.openxmlformats.org/package/2006/metadata/core-properties"/>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Case Study Template</Template>
  <TotalTime>10114</TotalTime>
  <Words>1019</Words>
  <Application>Microsoft Office PowerPoint</Application>
  <PresentationFormat>On-screen Show (4:3)</PresentationFormat>
  <Paragraphs>85</Paragraphs>
  <Slides>13</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MS PGothic</vt:lpstr>
      <vt:lpstr>Arial</vt:lpstr>
      <vt:lpstr>Calibri</vt:lpstr>
      <vt:lpstr>Candara</vt:lpstr>
      <vt:lpstr>Helvetica Light</vt:lpstr>
      <vt:lpstr>Times New Roman</vt:lpstr>
      <vt:lpstr>Wingdings</vt:lpstr>
      <vt:lpstr>CG Powerpoint template 4x3</vt:lpstr>
      <vt:lpstr>Section break</vt:lpstr>
      <vt:lpstr>Closing slides</vt:lpstr>
      <vt:lpstr>1_CG Powerpoint template 4x3</vt:lpstr>
      <vt:lpstr>think-cell Slide</vt:lpstr>
      <vt:lpstr> Configuring SOAP Web Service with Akana</vt:lpstr>
      <vt:lpstr>Why Web Service is needed to configure in Akana?</vt:lpstr>
      <vt:lpstr>Steps to follow for SOAP Web Service Configuration in Akana</vt:lpstr>
      <vt:lpstr>Steps Continued..</vt:lpstr>
      <vt:lpstr>Steps Continued..</vt:lpstr>
      <vt:lpstr>Steps Continued…</vt:lpstr>
      <vt:lpstr>Steps Continued..</vt:lpstr>
      <vt:lpstr>Steps continued</vt:lpstr>
      <vt:lpstr>Steps Continued…</vt:lpstr>
      <vt:lpstr>Steps Continued…</vt:lpstr>
      <vt:lpstr>Sample Java Client Code</vt:lpstr>
      <vt:lpstr>Steps Continued</vt:lpstr>
      <vt:lpstr>Reference</vt:lpstr>
    </vt:vector>
  </TitlesOfParts>
  <Company>iGATE Global Solutions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Manish Parulekar</dc:creator>
  <cp:lastModifiedBy>Ts, Karthikeyan (GE Power, Non-GE)</cp:lastModifiedBy>
  <cp:revision>102</cp:revision>
  <dcterms:created xsi:type="dcterms:W3CDTF">2015-12-29T04:50:02Z</dcterms:created>
  <dcterms:modified xsi:type="dcterms:W3CDTF">2017-10-17T16:3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